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2.xml" ContentType="application/vnd.openxmlformats-officedocument.drawingml.chart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55" r:id="rId1"/>
  </p:sldMasterIdLst>
  <p:notesMasterIdLst>
    <p:notesMasterId r:id="rId33"/>
  </p:notesMasterIdLst>
  <p:handoutMasterIdLst>
    <p:handoutMasterId r:id="rId34"/>
  </p:handoutMasterIdLst>
  <p:sldIdLst>
    <p:sldId id="257" r:id="rId2"/>
    <p:sldId id="286" r:id="rId3"/>
    <p:sldId id="258" r:id="rId4"/>
    <p:sldId id="259" r:id="rId5"/>
    <p:sldId id="287" r:id="rId6"/>
    <p:sldId id="261" r:id="rId7"/>
    <p:sldId id="262" r:id="rId8"/>
    <p:sldId id="288" r:id="rId9"/>
    <p:sldId id="290" r:id="rId10"/>
    <p:sldId id="260" r:id="rId11"/>
    <p:sldId id="263" r:id="rId12"/>
    <p:sldId id="264" r:id="rId13"/>
    <p:sldId id="265" r:id="rId14"/>
    <p:sldId id="284" r:id="rId15"/>
    <p:sldId id="285" r:id="rId16"/>
    <p:sldId id="273" r:id="rId17"/>
    <p:sldId id="277" r:id="rId18"/>
    <p:sldId id="276" r:id="rId19"/>
    <p:sldId id="267" r:id="rId20"/>
    <p:sldId id="268" r:id="rId21"/>
    <p:sldId id="269" r:id="rId22"/>
    <p:sldId id="270" r:id="rId23"/>
    <p:sldId id="271" r:id="rId24"/>
    <p:sldId id="272" r:id="rId25"/>
    <p:sldId id="292" r:id="rId26"/>
    <p:sldId id="274" r:id="rId27"/>
    <p:sldId id="275" r:id="rId28"/>
    <p:sldId id="293" r:id="rId29"/>
    <p:sldId id="294" r:id="rId30"/>
    <p:sldId id="278" r:id="rId31"/>
    <p:sldId id="295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FED9AA-6A97-45FF-BCF1-DBD9CFBE798F}">
          <p14:sldIdLst>
            <p14:sldId id="257"/>
            <p14:sldId id="286"/>
            <p14:sldId id="258"/>
            <p14:sldId id="259"/>
            <p14:sldId id="287"/>
            <p14:sldId id="261"/>
            <p14:sldId id="262"/>
            <p14:sldId id="288"/>
            <p14:sldId id="290"/>
          </p14:sldIdLst>
        </p14:section>
        <p14:section name="Sección sin título" id="{E804E3A9-B6CB-4252-8F23-1B49121ADA39}">
          <p14:sldIdLst>
            <p14:sldId id="260"/>
            <p14:sldId id="263"/>
            <p14:sldId id="264"/>
            <p14:sldId id="265"/>
            <p14:sldId id="284"/>
            <p14:sldId id="285"/>
            <p14:sldId id="273"/>
            <p14:sldId id="277"/>
            <p14:sldId id="276"/>
            <p14:sldId id="267"/>
            <p14:sldId id="268"/>
            <p14:sldId id="269"/>
            <p14:sldId id="270"/>
            <p14:sldId id="271"/>
            <p14:sldId id="272"/>
            <p14:sldId id="292"/>
            <p14:sldId id="274"/>
            <p14:sldId id="275"/>
            <p14:sldId id="293"/>
            <p14:sldId id="294"/>
            <p14:sldId id="278"/>
            <p14:sldId id="29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thony Dario" initials="AD" lastIdx="1" clrIdx="0">
    <p:extLst>
      <p:ext uri="{19B8F6BF-5375-455C-9EA6-DF929625EA0E}">
        <p15:presenceInfo xmlns:p15="http://schemas.microsoft.com/office/powerpoint/2012/main" userId="31c592d46cb59fc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F74"/>
    <a:srgbClr val="EBBADB"/>
    <a:srgbClr val="FDAF1F"/>
    <a:srgbClr val="C57C86"/>
    <a:srgbClr val="F08310"/>
    <a:srgbClr val="EB51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Level up! PowerPoin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5"/>
              </a:solidFill>
            </a:ln>
          </a:bottom>
          <a:insideH>
            <a:ln w="9525" cap="flat" cmpd="sng" algn="ctr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52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91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84-49A3-84AF-1F91A5CF2C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4-49A3-84AF-1F91A5CF2C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84-49A3-84AF-1F91A5CF2CA5}"/>
              </c:ext>
            </c:extLst>
          </c:dPt>
          <c:dPt>
            <c:idx val="3"/>
            <c:bubble3D val="0"/>
            <c:spPr>
              <a:solidFill>
                <a:schemeClr val="bg2">
                  <a:lumMod val="75000"/>
                  <a:lumOff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314-446B-A006-7B86ECC1A598}"/>
              </c:ext>
            </c:extLst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</c:v>
                </c:pt>
                <c:pt idx="1">
                  <c:v>0.2</c:v>
                </c:pt>
                <c:pt idx="2">
                  <c:v>0.1</c:v>
                </c:pt>
                <c:pt idx="3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4-446B-A006-7B86ECC1A5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C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21-440A-9049-E36F08205D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21-440A-9049-E36F08205DE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A21-440A-9049-E36F08205D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16"/>
        <c:axId val="2009030159"/>
        <c:axId val="1986091919"/>
      </c:barChart>
      <c:catAx>
        <c:axId val="20090301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1986091919"/>
        <c:crosses val="autoZero"/>
        <c:auto val="1"/>
        <c:lblAlgn val="ctr"/>
        <c:lblOffset val="100"/>
        <c:noMultiLvlLbl val="0"/>
      </c:catAx>
      <c:valAx>
        <c:axId val="19860919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numCol="1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C"/>
          </a:p>
        </c:txPr>
        <c:crossAx val="20090301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numCol="1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C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 numCol="1"/>
    <a:lstStyle/>
    <a:p>
      <a:pPr>
        <a:defRPr/>
      </a:pPr>
      <a:endParaRPr lang="es-EC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8136B7-FE52-4175-BC54-98DB60388487}" type="doc">
      <dgm:prSet loTypeId="urn:microsoft.com/office/officeart/2005/8/layout/hList6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EC"/>
        </a:p>
      </dgm:t>
    </dgm:pt>
    <dgm:pt modelId="{EBAA80A9-981F-42A9-82ED-D96175E7E68A}">
      <dgm:prSet phldrT="[Texto]"/>
      <dgm:spPr/>
      <dgm:t>
        <a:bodyPr/>
        <a:lstStyle/>
        <a:p>
          <a:r>
            <a:rPr lang="es-ES" b="1" dirty="0"/>
            <a:t>Pacto</a:t>
          </a:r>
          <a:r>
            <a:rPr lang="es-ES" dirty="0"/>
            <a:t> </a:t>
          </a:r>
          <a:endParaRPr lang="es-EC" dirty="0"/>
        </a:p>
      </dgm:t>
    </dgm:pt>
    <dgm:pt modelId="{565FE807-1488-401A-825C-967FABE2AC27}" type="parTrans" cxnId="{DBF17CE7-92F8-437B-BA41-3D8AAF8E1521}">
      <dgm:prSet/>
      <dgm:spPr/>
      <dgm:t>
        <a:bodyPr/>
        <a:lstStyle/>
        <a:p>
          <a:endParaRPr lang="es-EC"/>
        </a:p>
      </dgm:t>
    </dgm:pt>
    <dgm:pt modelId="{3E17BC50-B53F-407E-A327-13E6DA20CA2D}" type="sibTrans" cxnId="{DBF17CE7-92F8-437B-BA41-3D8AAF8E1521}">
      <dgm:prSet/>
      <dgm:spPr/>
      <dgm:t>
        <a:bodyPr/>
        <a:lstStyle/>
        <a:p>
          <a:endParaRPr lang="es-EC"/>
        </a:p>
      </dgm:t>
    </dgm:pt>
    <dgm:pt modelId="{BFD52B35-A4CA-4830-979D-75287E20611B}">
      <dgm:prSet phldrT="[Texto]"/>
      <dgm:spPr/>
      <dgm:t>
        <a:bodyPr/>
        <a:lstStyle/>
        <a:p>
          <a:r>
            <a:rPr lang="es-ES" dirty="0"/>
            <a:t>Al Noroccidente de Pichincha, a 2 horas del DMQ. </a:t>
          </a:r>
          <a:endParaRPr lang="es-EC" dirty="0"/>
        </a:p>
      </dgm:t>
    </dgm:pt>
    <dgm:pt modelId="{7ECE5B59-3DAC-4117-BBDE-88B761A8C74A}" type="parTrans" cxnId="{E032BF32-2AA4-4B45-904F-3C20D0D67E3F}">
      <dgm:prSet/>
      <dgm:spPr/>
      <dgm:t>
        <a:bodyPr/>
        <a:lstStyle/>
        <a:p>
          <a:endParaRPr lang="es-EC"/>
        </a:p>
      </dgm:t>
    </dgm:pt>
    <dgm:pt modelId="{240703E5-12D8-49B8-96A3-DEF99E3D7F22}" type="sibTrans" cxnId="{E032BF32-2AA4-4B45-904F-3C20D0D67E3F}">
      <dgm:prSet/>
      <dgm:spPr/>
      <dgm:t>
        <a:bodyPr/>
        <a:lstStyle/>
        <a:p>
          <a:endParaRPr lang="es-EC"/>
        </a:p>
      </dgm:t>
    </dgm:pt>
    <dgm:pt modelId="{C9088C85-EEB4-4EE2-B5C5-3C0D69D8B55F}">
      <dgm:prSet phldrT="[Texto]"/>
      <dgm:spPr/>
      <dgm:t>
        <a:bodyPr/>
        <a:lstStyle/>
        <a:p>
          <a:r>
            <a:rPr lang="es-ES" dirty="0"/>
            <a:t>Parte de la bio región del Chocó Andino.</a:t>
          </a:r>
          <a:endParaRPr lang="es-EC" dirty="0"/>
        </a:p>
      </dgm:t>
    </dgm:pt>
    <dgm:pt modelId="{7F212ED1-A7A3-409F-AC0E-0E47099A44C5}" type="parTrans" cxnId="{C920BF64-2B4E-4B9D-A812-A789E5D8DA33}">
      <dgm:prSet/>
      <dgm:spPr/>
      <dgm:t>
        <a:bodyPr/>
        <a:lstStyle/>
        <a:p>
          <a:endParaRPr lang="es-EC"/>
        </a:p>
      </dgm:t>
    </dgm:pt>
    <dgm:pt modelId="{27483174-F254-49DF-8243-9E81EA7BAF45}" type="sibTrans" cxnId="{C920BF64-2B4E-4B9D-A812-A789E5D8DA33}">
      <dgm:prSet/>
      <dgm:spPr/>
      <dgm:t>
        <a:bodyPr/>
        <a:lstStyle/>
        <a:p>
          <a:endParaRPr lang="es-EC"/>
        </a:p>
      </dgm:t>
    </dgm:pt>
    <dgm:pt modelId="{BD0DE200-94FC-48A7-8DBA-F12313B1CF1E}">
      <dgm:prSet phldrT="[Texto]"/>
      <dgm:spPr/>
      <dgm:t>
        <a:bodyPr/>
        <a:lstStyle/>
        <a:p>
          <a:r>
            <a:rPr lang="es-ES" b="1" dirty="0"/>
            <a:t>Potencialidades</a:t>
          </a:r>
          <a:endParaRPr lang="es-EC" b="1" dirty="0"/>
        </a:p>
      </dgm:t>
    </dgm:pt>
    <dgm:pt modelId="{AF1B739B-91CD-406D-9B1B-4D53793D87EF}" type="parTrans" cxnId="{7289A6E2-44BC-47D5-9297-70BF1C77B0FE}">
      <dgm:prSet/>
      <dgm:spPr/>
      <dgm:t>
        <a:bodyPr/>
        <a:lstStyle/>
        <a:p>
          <a:endParaRPr lang="es-EC"/>
        </a:p>
      </dgm:t>
    </dgm:pt>
    <dgm:pt modelId="{B43E5DBD-FDDC-4A00-84ED-A9CF0456D217}" type="sibTrans" cxnId="{7289A6E2-44BC-47D5-9297-70BF1C77B0FE}">
      <dgm:prSet/>
      <dgm:spPr/>
      <dgm:t>
        <a:bodyPr/>
        <a:lstStyle/>
        <a:p>
          <a:endParaRPr lang="es-EC"/>
        </a:p>
      </dgm:t>
    </dgm:pt>
    <dgm:pt modelId="{2F1393ED-C0EB-4865-9D5D-B31D9B6FF3DA}">
      <dgm:prSet phldrT="[Texto]"/>
      <dgm:spPr/>
      <dgm:t>
        <a:bodyPr/>
        <a:lstStyle/>
        <a:p>
          <a:r>
            <a:rPr lang="es-ES" dirty="0"/>
            <a:t>Actividad agrícola, cultivos de caña, café, cacao.</a:t>
          </a:r>
          <a:endParaRPr lang="es-EC" dirty="0"/>
        </a:p>
      </dgm:t>
    </dgm:pt>
    <dgm:pt modelId="{0CB6E5A9-6E97-49C3-854A-41B8FEEFFF55}" type="parTrans" cxnId="{FEFC4E91-056B-44A3-85B0-B942FA6128D4}">
      <dgm:prSet/>
      <dgm:spPr/>
      <dgm:t>
        <a:bodyPr/>
        <a:lstStyle/>
        <a:p>
          <a:endParaRPr lang="es-EC"/>
        </a:p>
      </dgm:t>
    </dgm:pt>
    <dgm:pt modelId="{B47E6B0E-C9D5-4944-B2E4-D58B3024F93D}" type="sibTrans" cxnId="{FEFC4E91-056B-44A3-85B0-B942FA6128D4}">
      <dgm:prSet/>
      <dgm:spPr/>
      <dgm:t>
        <a:bodyPr/>
        <a:lstStyle/>
        <a:p>
          <a:endParaRPr lang="es-EC"/>
        </a:p>
      </dgm:t>
    </dgm:pt>
    <dgm:pt modelId="{6031AF4E-2E33-4F88-AFEC-7191A487CA32}">
      <dgm:prSet phldrT="[Texto]"/>
      <dgm:spPr/>
      <dgm:t>
        <a:bodyPr/>
        <a:lstStyle/>
        <a:p>
          <a:r>
            <a:rPr lang="es-ES" dirty="0"/>
            <a:t>Vestigios de la Cultura Yumbo</a:t>
          </a:r>
          <a:endParaRPr lang="es-EC" dirty="0"/>
        </a:p>
      </dgm:t>
    </dgm:pt>
    <dgm:pt modelId="{D928EA64-5C83-4EB2-93E2-879043D9D524}" type="parTrans" cxnId="{369D63B8-3AFA-45C8-ACDD-9EED221D4878}">
      <dgm:prSet/>
      <dgm:spPr/>
      <dgm:t>
        <a:bodyPr/>
        <a:lstStyle/>
        <a:p>
          <a:endParaRPr lang="es-EC"/>
        </a:p>
      </dgm:t>
    </dgm:pt>
    <dgm:pt modelId="{12689872-6195-4C0C-B0AE-7EB57EDA6C38}" type="sibTrans" cxnId="{369D63B8-3AFA-45C8-ACDD-9EED221D4878}">
      <dgm:prSet/>
      <dgm:spPr/>
      <dgm:t>
        <a:bodyPr/>
        <a:lstStyle/>
        <a:p>
          <a:endParaRPr lang="es-EC"/>
        </a:p>
      </dgm:t>
    </dgm:pt>
    <dgm:pt modelId="{037ED6D7-D54A-49DE-BD58-04CC5B4A0695}">
      <dgm:prSet phldrT="[Texto]"/>
      <dgm:spPr/>
      <dgm:t>
        <a:bodyPr/>
        <a:lstStyle/>
        <a:p>
          <a:r>
            <a:rPr lang="es-ES" b="1" dirty="0"/>
            <a:t>Problemática </a:t>
          </a:r>
          <a:endParaRPr lang="es-EC" b="1" dirty="0"/>
        </a:p>
      </dgm:t>
    </dgm:pt>
    <dgm:pt modelId="{FA8CCB9B-F2AE-4CD3-B402-E296DF666041}" type="parTrans" cxnId="{C337C8FB-D1B7-4920-B06A-709F4E2599DA}">
      <dgm:prSet/>
      <dgm:spPr/>
      <dgm:t>
        <a:bodyPr/>
        <a:lstStyle/>
        <a:p>
          <a:endParaRPr lang="es-EC"/>
        </a:p>
      </dgm:t>
    </dgm:pt>
    <dgm:pt modelId="{A98249DF-548B-48D6-81DD-F4B5A1D98A3F}" type="sibTrans" cxnId="{C337C8FB-D1B7-4920-B06A-709F4E2599DA}">
      <dgm:prSet/>
      <dgm:spPr/>
      <dgm:t>
        <a:bodyPr/>
        <a:lstStyle/>
        <a:p>
          <a:endParaRPr lang="es-EC"/>
        </a:p>
      </dgm:t>
    </dgm:pt>
    <dgm:pt modelId="{69B17811-0258-4D2C-A3FE-CEB641D65AA2}">
      <dgm:prSet phldrT="[Texto]"/>
      <dgm:spPr/>
      <dgm:t>
        <a:bodyPr/>
        <a:lstStyle/>
        <a:p>
          <a:r>
            <a:rPr lang="es-ES" dirty="0"/>
            <a:t>Baja integración de las actividades productivas con el turismo. </a:t>
          </a:r>
          <a:endParaRPr lang="es-EC" dirty="0"/>
        </a:p>
      </dgm:t>
    </dgm:pt>
    <dgm:pt modelId="{A675F864-D633-422B-B9F3-C16373D0DF3A}" type="parTrans" cxnId="{C32D72EB-8923-4221-B6F8-54F299915970}">
      <dgm:prSet/>
      <dgm:spPr/>
      <dgm:t>
        <a:bodyPr/>
        <a:lstStyle/>
        <a:p>
          <a:endParaRPr lang="es-EC"/>
        </a:p>
      </dgm:t>
    </dgm:pt>
    <dgm:pt modelId="{D3ADC2D7-70FB-43AC-AB6C-249E0A9E0231}" type="sibTrans" cxnId="{C32D72EB-8923-4221-B6F8-54F299915970}">
      <dgm:prSet/>
      <dgm:spPr/>
      <dgm:t>
        <a:bodyPr/>
        <a:lstStyle/>
        <a:p>
          <a:endParaRPr lang="es-EC"/>
        </a:p>
      </dgm:t>
    </dgm:pt>
    <dgm:pt modelId="{678B65B1-50F8-4F6A-8393-9CDB5CF0DD78}">
      <dgm:prSet phldrT="[Texto]"/>
      <dgm:spPr/>
      <dgm:t>
        <a:bodyPr/>
        <a:lstStyle/>
        <a:p>
          <a:r>
            <a:rPr lang="es-ES" dirty="0"/>
            <a:t>Baja participación de la comunidad para un verdadero desarrollo local. </a:t>
          </a:r>
          <a:endParaRPr lang="es-EC" dirty="0"/>
        </a:p>
      </dgm:t>
    </dgm:pt>
    <dgm:pt modelId="{847943D4-D7D6-409C-B35C-4D8641881AA7}" type="parTrans" cxnId="{D41E8481-D741-4F57-9B6E-D158342503BA}">
      <dgm:prSet/>
      <dgm:spPr/>
      <dgm:t>
        <a:bodyPr/>
        <a:lstStyle/>
        <a:p>
          <a:endParaRPr lang="es-EC"/>
        </a:p>
      </dgm:t>
    </dgm:pt>
    <dgm:pt modelId="{C394D613-84DE-49B1-8EA6-05A511BE3BCA}" type="sibTrans" cxnId="{D41E8481-D741-4F57-9B6E-D158342503BA}">
      <dgm:prSet/>
      <dgm:spPr/>
      <dgm:t>
        <a:bodyPr/>
        <a:lstStyle/>
        <a:p>
          <a:endParaRPr lang="es-EC"/>
        </a:p>
      </dgm:t>
    </dgm:pt>
    <dgm:pt modelId="{C3A639A0-7E7F-4AD6-8BCD-C6060B9E06B3}">
      <dgm:prSet phldrT="[Texto]"/>
      <dgm:spPr/>
      <dgm:t>
        <a:bodyPr/>
        <a:lstStyle/>
        <a:p>
          <a:r>
            <a:rPr lang="es-ES" dirty="0"/>
            <a:t>Riqueza Natural; diversidad de flora y fauna endémica.</a:t>
          </a:r>
          <a:endParaRPr lang="es-EC" dirty="0"/>
        </a:p>
      </dgm:t>
    </dgm:pt>
    <dgm:pt modelId="{C51DECFF-2CEB-47BF-AB4B-15CB02B6B5CA}" type="parTrans" cxnId="{666261EC-FE51-4433-A749-58E4CD47CFD9}">
      <dgm:prSet/>
      <dgm:spPr/>
      <dgm:t>
        <a:bodyPr/>
        <a:lstStyle/>
        <a:p>
          <a:endParaRPr lang="es-EC"/>
        </a:p>
      </dgm:t>
    </dgm:pt>
    <dgm:pt modelId="{C156DA67-F3A2-4E23-96DA-DA9F0143EA96}" type="sibTrans" cxnId="{666261EC-FE51-4433-A749-58E4CD47CFD9}">
      <dgm:prSet/>
      <dgm:spPr/>
      <dgm:t>
        <a:bodyPr/>
        <a:lstStyle/>
        <a:p>
          <a:endParaRPr lang="es-EC"/>
        </a:p>
      </dgm:t>
    </dgm:pt>
    <dgm:pt modelId="{8CBE1AB9-4A8F-4DDC-81E4-B28401CBDBA1}" type="pres">
      <dgm:prSet presAssocID="{C78136B7-FE52-4175-BC54-98DB60388487}" presName="Name0" presStyleCnt="0">
        <dgm:presLayoutVars>
          <dgm:dir/>
          <dgm:resizeHandles val="exact"/>
        </dgm:presLayoutVars>
      </dgm:prSet>
      <dgm:spPr/>
    </dgm:pt>
    <dgm:pt modelId="{2C616D8A-536B-4ED0-855E-DAE10CAFF2F9}" type="pres">
      <dgm:prSet presAssocID="{EBAA80A9-981F-42A9-82ED-D96175E7E68A}" presName="node" presStyleLbl="node1" presStyleIdx="0" presStyleCnt="3">
        <dgm:presLayoutVars>
          <dgm:bulletEnabled val="1"/>
        </dgm:presLayoutVars>
      </dgm:prSet>
      <dgm:spPr/>
    </dgm:pt>
    <dgm:pt modelId="{DAAFDBE4-42D1-448F-8CE9-9ABDFB62A8AC}" type="pres">
      <dgm:prSet presAssocID="{3E17BC50-B53F-407E-A327-13E6DA20CA2D}" presName="sibTrans" presStyleCnt="0"/>
      <dgm:spPr/>
    </dgm:pt>
    <dgm:pt modelId="{1E18ECFA-9D3A-4998-B6E5-811F9514747C}" type="pres">
      <dgm:prSet presAssocID="{BD0DE200-94FC-48A7-8DBA-F12313B1CF1E}" presName="node" presStyleLbl="node1" presStyleIdx="1" presStyleCnt="3">
        <dgm:presLayoutVars>
          <dgm:bulletEnabled val="1"/>
        </dgm:presLayoutVars>
      </dgm:prSet>
      <dgm:spPr/>
    </dgm:pt>
    <dgm:pt modelId="{D040C125-C03E-4388-9B86-8F9604A6F60C}" type="pres">
      <dgm:prSet presAssocID="{B43E5DBD-FDDC-4A00-84ED-A9CF0456D217}" presName="sibTrans" presStyleCnt="0"/>
      <dgm:spPr/>
    </dgm:pt>
    <dgm:pt modelId="{4F8D201A-FC32-4F07-A38D-894222683739}" type="pres">
      <dgm:prSet presAssocID="{037ED6D7-D54A-49DE-BD58-04CC5B4A0695}" presName="node" presStyleLbl="node1" presStyleIdx="2" presStyleCnt="3">
        <dgm:presLayoutVars>
          <dgm:bulletEnabled val="1"/>
        </dgm:presLayoutVars>
      </dgm:prSet>
      <dgm:spPr/>
    </dgm:pt>
  </dgm:ptLst>
  <dgm:cxnLst>
    <dgm:cxn modelId="{C5088D2A-2AB3-47AA-A6AC-405D33666B69}" type="presOf" srcId="{69B17811-0258-4D2C-A3FE-CEB641D65AA2}" destId="{4F8D201A-FC32-4F07-A38D-894222683739}" srcOrd="0" destOrd="1" presId="urn:microsoft.com/office/officeart/2005/8/layout/hList6"/>
    <dgm:cxn modelId="{E032BF32-2AA4-4B45-904F-3C20D0D67E3F}" srcId="{EBAA80A9-981F-42A9-82ED-D96175E7E68A}" destId="{BFD52B35-A4CA-4830-979D-75287E20611B}" srcOrd="0" destOrd="0" parTransId="{7ECE5B59-3DAC-4117-BBDE-88B761A8C74A}" sibTransId="{240703E5-12D8-49B8-96A3-DEF99E3D7F22}"/>
    <dgm:cxn modelId="{EA0C0C36-9F36-4C59-8B82-F082ABA21CB7}" type="presOf" srcId="{EBAA80A9-981F-42A9-82ED-D96175E7E68A}" destId="{2C616D8A-536B-4ED0-855E-DAE10CAFF2F9}" srcOrd="0" destOrd="0" presId="urn:microsoft.com/office/officeart/2005/8/layout/hList6"/>
    <dgm:cxn modelId="{DFF21563-3AFC-4F1C-A168-D9794FC8150D}" type="presOf" srcId="{678B65B1-50F8-4F6A-8393-9CDB5CF0DD78}" destId="{4F8D201A-FC32-4F07-A38D-894222683739}" srcOrd="0" destOrd="2" presId="urn:microsoft.com/office/officeart/2005/8/layout/hList6"/>
    <dgm:cxn modelId="{C920BF64-2B4E-4B9D-A812-A789E5D8DA33}" srcId="{EBAA80A9-981F-42A9-82ED-D96175E7E68A}" destId="{C9088C85-EEB4-4EE2-B5C5-3C0D69D8B55F}" srcOrd="1" destOrd="0" parTransId="{7F212ED1-A7A3-409F-AC0E-0E47099A44C5}" sibTransId="{27483174-F254-49DF-8243-9E81EA7BAF45}"/>
    <dgm:cxn modelId="{2D92B56E-EBC1-43D2-AFF0-824DCA0BB309}" type="presOf" srcId="{C9088C85-EEB4-4EE2-B5C5-3C0D69D8B55F}" destId="{2C616D8A-536B-4ED0-855E-DAE10CAFF2F9}" srcOrd="0" destOrd="2" presId="urn:microsoft.com/office/officeart/2005/8/layout/hList6"/>
    <dgm:cxn modelId="{BE4C176F-48AB-40D2-B6BA-8DE5082B74D4}" type="presOf" srcId="{037ED6D7-D54A-49DE-BD58-04CC5B4A0695}" destId="{4F8D201A-FC32-4F07-A38D-894222683739}" srcOrd="0" destOrd="0" presId="urn:microsoft.com/office/officeart/2005/8/layout/hList6"/>
    <dgm:cxn modelId="{BE529559-BF79-4728-B23B-A0044491B912}" type="presOf" srcId="{BD0DE200-94FC-48A7-8DBA-F12313B1CF1E}" destId="{1E18ECFA-9D3A-4998-B6E5-811F9514747C}" srcOrd="0" destOrd="0" presId="urn:microsoft.com/office/officeart/2005/8/layout/hList6"/>
    <dgm:cxn modelId="{DBF4075A-B995-4F3C-B529-6C7F734B782E}" type="presOf" srcId="{C3A639A0-7E7F-4AD6-8BCD-C6060B9E06B3}" destId="{1E18ECFA-9D3A-4998-B6E5-811F9514747C}" srcOrd="0" destOrd="3" presId="urn:microsoft.com/office/officeart/2005/8/layout/hList6"/>
    <dgm:cxn modelId="{D41E8481-D741-4F57-9B6E-D158342503BA}" srcId="{037ED6D7-D54A-49DE-BD58-04CC5B4A0695}" destId="{678B65B1-50F8-4F6A-8393-9CDB5CF0DD78}" srcOrd="1" destOrd="0" parTransId="{847943D4-D7D6-409C-B35C-4D8641881AA7}" sibTransId="{C394D613-84DE-49B1-8EA6-05A511BE3BCA}"/>
    <dgm:cxn modelId="{F2D6418B-75B7-4204-BC18-6C4EA86CA115}" type="presOf" srcId="{BFD52B35-A4CA-4830-979D-75287E20611B}" destId="{2C616D8A-536B-4ED0-855E-DAE10CAFF2F9}" srcOrd="0" destOrd="1" presId="urn:microsoft.com/office/officeart/2005/8/layout/hList6"/>
    <dgm:cxn modelId="{FEFC4E91-056B-44A3-85B0-B942FA6128D4}" srcId="{BD0DE200-94FC-48A7-8DBA-F12313B1CF1E}" destId="{2F1393ED-C0EB-4865-9D5D-B31D9B6FF3DA}" srcOrd="0" destOrd="0" parTransId="{0CB6E5A9-6E97-49C3-854A-41B8FEEFFF55}" sibTransId="{B47E6B0E-C9D5-4944-B2E4-D58B3024F93D}"/>
    <dgm:cxn modelId="{16D973A3-5DAD-4ABE-B1C2-9D1C990673DA}" type="presOf" srcId="{C78136B7-FE52-4175-BC54-98DB60388487}" destId="{8CBE1AB9-4A8F-4DDC-81E4-B28401CBDBA1}" srcOrd="0" destOrd="0" presId="urn:microsoft.com/office/officeart/2005/8/layout/hList6"/>
    <dgm:cxn modelId="{369D63B8-3AFA-45C8-ACDD-9EED221D4878}" srcId="{BD0DE200-94FC-48A7-8DBA-F12313B1CF1E}" destId="{6031AF4E-2E33-4F88-AFEC-7191A487CA32}" srcOrd="1" destOrd="0" parTransId="{D928EA64-5C83-4EB2-93E2-879043D9D524}" sibTransId="{12689872-6195-4C0C-B0AE-7EB57EDA6C38}"/>
    <dgm:cxn modelId="{89AADCBB-D165-41DE-985B-C16C839BA2A7}" type="presOf" srcId="{6031AF4E-2E33-4F88-AFEC-7191A487CA32}" destId="{1E18ECFA-9D3A-4998-B6E5-811F9514747C}" srcOrd="0" destOrd="2" presId="urn:microsoft.com/office/officeart/2005/8/layout/hList6"/>
    <dgm:cxn modelId="{14A640C5-3E7B-465B-8E2A-03FFA0DEBE8B}" type="presOf" srcId="{2F1393ED-C0EB-4865-9D5D-B31D9B6FF3DA}" destId="{1E18ECFA-9D3A-4998-B6E5-811F9514747C}" srcOrd="0" destOrd="1" presId="urn:microsoft.com/office/officeart/2005/8/layout/hList6"/>
    <dgm:cxn modelId="{7289A6E2-44BC-47D5-9297-70BF1C77B0FE}" srcId="{C78136B7-FE52-4175-BC54-98DB60388487}" destId="{BD0DE200-94FC-48A7-8DBA-F12313B1CF1E}" srcOrd="1" destOrd="0" parTransId="{AF1B739B-91CD-406D-9B1B-4D53793D87EF}" sibTransId="{B43E5DBD-FDDC-4A00-84ED-A9CF0456D217}"/>
    <dgm:cxn modelId="{DBF17CE7-92F8-437B-BA41-3D8AAF8E1521}" srcId="{C78136B7-FE52-4175-BC54-98DB60388487}" destId="{EBAA80A9-981F-42A9-82ED-D96175E7E68A}" srcOrd="0" destOrd="0" parTransId="{565FE807-1488-401A-825C-967FABE2AC27}" sibTransId="{3E17BC50-B53F-407E-A327-13E6DA20CA2D}"/>
    <dgm:cxn modelId="{C32D72EB-8923-4221-B6F8-54F299915970}" srcId="{037ED6D7-D54A-49DE-BD58-04CC5B4A0695}" destId="{69B17811-0258-4D2C-A3FE-CEB641D65AA2}" srcOrd="0" destOrd="0" parTransId="{A675F864-D633-422B-B9F3-C16373D0DF3A}" sibTransId="{D3ADC2D7-70FB-43AC-AB6C-249E0A9E0231}"/>
    <dgm:cxn modelId="{666261EC-FE51-4433-A749-58E4CD47CFD9}" srcId="{BD0DE200-94FC-48A7-8DBA-F12313B1CF1E}" destId="{C3A639A0-7E7F-4AD6-8BCD-C6060B9E06B3}" srcOrd="2" destOrd="0" parTransId="{C51DECFF-2CEB-47BF-AB4B-15CB02B6B5CA}" sibTransId="{C156DA67-F3A2-4E23-96DA-DA9F0143EA96}"/>
    <dgm:cxn modelId="{C337C8FB-D1B7-4920-B06A-709F4E2599DA}" srcId="{C78136B7-FE52-4175-BC54-98DB60388487}" destId="{037ED6D7-D54A-49DE-BD58-04CC5B4A0695}" srcOrd="2" destOrd="0" parTransId="{FA8CCB9B-F2AE-4CD3-B402-E296DF666041}" sibTransId="{A98249DF-548B-48D6-81DD-F4B5A1D98A3F}"/>
    <dgm:cxn modelId="{1C040BDA-BFC2-4FCA-A176-9D5F933A7B40}" type="presParOf" srcId="{8CBE1AB9-4A8F-4DDC-81E4-B28401CBDBA1}" destId="{2C616D8A-536B-4ED0-855E-DAE10CAFF2F9}" srcOrd="0" destOrd="0" presId="urn:microsoft.com/office/officeart/2005/8/layout/hList6"/>
    <dgm:cxn modelId="{A3982568-8B22-4C29-8944-CDE72567B25B}" type="presParOf" srcId="{8CBE1AB9-4A8F-4DDC-81E4-B28401CBDBA1}" destId="{DAAFDBE4-42D1-448F-8CE9-9ABDFB62A8AC}" srcOrd="1" destOrd="0" presId="urn:microsoft.com/office/officeart/2005/8/layout/hList6"/>
    <dgm:cxn modelId="{5DCF3770-B89B-49DA-801F-A25BC73264F3}" type="presParOf" srcId="{8CBE1AB9-4A8F-4DDC-81E4-B28401CBDBA1}" destId="{1E18ECFA-9D3A-4998-B6E5-811F9514747C}" srcOrd="2" destOrd="0" presId="urn:microsoft.com/office/officeart/2005/8/layout/hList6"/>
    <dgm:cxn modelId="{AEFE754E-1A99-4E26-9270-5ECC7EA87703}" type="presParOf" srcId="{8CBE1AB9-4A8F-4DDC-81E4-B28401CBDBA1}" destId="{D040C125-C03E-4388-9B86-8F9604A6F60C}" srcOrd="3" destOrd="0" presId="urn:microsoft.com/office/officeart/2005/8/layout/hList6"/>
    <dgm:cxn modelId="{317096F7-26F5-40B5-9338-04F9BF68F54A}" type="presParOf" srcId="{8CBE1AB9-4A8F-4DDC-81E4-B28401CBDBA1}" destId="{4F8D201A-FC32-4F07-A38D-894222683739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912CACF-B313-4185-BF6E-AE5A092F0096}" type="doc">
      <dgm:prSet loTypeId="urn:microsoft.com/office/officeart/2005/8/layout/pyramid2" loCatId="pyramid" qsTypeId="urn:microsoft.com/office/officeart/2005/8/quickstyle/simple1" qsCatId="simple" csTypeId="urn:microsoft.com/office/officeart/2005/8/colors/accent0_3" csCatId="mainScheme" phldr="1"/>
      <dgm:spPr/>
    </dgm:pt>
    <dgm:pt modelId="{B668B98D-B59F-49A6-A3DB-BA53A245716C}">
      <dgm:prSet/>
      <dgm:spPr/>
      <dgm:t>
        <a:bodyPr/>
        <a:lstStyle/>
        <a:p>
          <a:r>
            <a:rPr lang="de-DE" altLang="de-DE" spc="300" dirty="0">
              <a:latin typeface="+mn-lt"/>
            </a:rPr>
            <a:t>Redes sociales</a:t>
          </a:r>
        </a:p>
      </dgm:t>
    </dgm:pt>
    <dgm:pt modelId="{7FAE89C9-9FA8-4E66-B1C8-5F6F72C0EB36}" type="parTrans" cxnId="{437BCBEF-033B-4BA5-B21B-B90FB7DF191F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2FBF8C7C-90F3-48CD-9A3C-E2BC9CA0BF81}" type="sibTrans" cxnId="{437BCBEF-033B-4BA5-B21B-B90FB7DF191F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EEAEB6D7-EF39-49C5-95C0-87797DC0F893}">
      <dgm:prSet phldrT="[Texto]"/>
      <dgm:spPr/>
      <dgm:t>
        <a:bodyPr/>
        <a:lstStyle/>
        <a:p>
          <a:r>
            <a:rPr lang="de-DE" altLang="de-DE" spc="300">
              <a:latin typeface="+mn-lt"/>
            </a:rPr>
            <a:t>Agroturismo y turismo comunitario</a:t>
          </a:r>
          <a:endParaRPr lang="de-DE" altLang="de-DE" spc="300" dirty="0">
            <a:latin typeface="+mn-lt"/>
          </a:endParaRPr>
        </a:p>
      </dgm:t>
    </dgm:pt>
    <dgm:pt modelId="{5B1A620E-2855-49A0-8D42-D151589A15C3}" type="parTrans" cxnId="{E3F4CEA6-149C-49D3-8008-BB21CF37914B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870A8321-7A7B-4550-BA67-51857B735AC0}" type="sibTrans" cxnId="{E3F4CEA6-149C-49D3-8008-BB21CF37914B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8C647DDE-0B07-4C43-BB9C-9C775B053AAB}">
      <dgm:prSet/>
      <dgm:spPr/>
      <dgm:t>
        <a:bodyPr/>
        <a:lstStyle/>
        <a:p>
          <a:r>
            <a:rPr lang="de-DE" altLang="de-DE" spc="300">
              <a:latin typeface="+mn-lt"/>
            </a:rPr>
            <a:t>Desconectarse del estres de la ciudad</a:t>
          </a:r>
          <a:endParaRPr lang="de-DE" altLang="de-DE" spc="300" dirty="0">
            <a:latin typeface="+mn-lt"/>
          </a:endParaRPr>
        </a:p>
      </dgm:t>
    </dgm:pt>
    <dgm:pt modelId="{79A548D0-733A-42DD-B0DB-38ADBFD678B0}" type="parTrans" cxnId="{4DA6AB18-17D4-4EB7-A033-A2E73E8C5E27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9326AD6E-33F1-467B-B4C8-B85904B30004}" type="sibTrans" cxnId="{4DA6AB18-17D4-4EB7-A033-A2E73E8C5E27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94F3C5FA-86DB-4640-8EEA-55707FEBDCA1}">
      <dgm:prSet/>
      <dgm:spPr/>
      <dgm:t>
        <a:bodyPr/>
        <a:lstStyle/>
        <a:p>
          <a:r>
            <a:rPr lang="de-DE" altLang="de-DE" spc="300">
              <a:latin typeface="+mn-lt"/>
            </a:rPr>
            <a:t>Calidad y Precio</a:t>
          </a:r>
          <a:endParaRPr lang="de-DE" altLang="de-DE" spc="300" dirty="0">
            <a:latin typeface="+mn-lt"/>
          </a:endParaRPr>
        </a:p>
      </dgm:t>
    </dgm:pt>
    <dgm:pt modelId="{89A08066-11D2-4793-ABB4-3B52697EE963}" type="parTrans" cxnId="{7E96034B-2ABE-432F-A958-6272F6A5C435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E45760F9-1DF3-4DF4-8512-995B9CE672C9}" type="sibTrans" cxnId="{7E96034B-2ABE-432F-A958-6272F6A5C435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A72495E8-60D3-4075-B44E-D22CECEE95E5}">
      <dgm:prSet/>
      <dgm:spPr/>
      <dgm:t>
        <a:bodyPr/>
        <a:lstStyle/>
        <a:p>
          <a:r>
            <a:rPr lang="de-DE" altLang="de-DE" spc="300" dirty="0">
              <a:latin typeface="+mn-lt"/>
            </a:rPr>
            <a:t>Buscan visitar atractivos naturales/Agroturismo</a:t>
          </a:r>
        </a:p>
      </dgm:t>
    </dgm:pt>
    <dgm:pt modelId="{23CB892C-DFB1-4638-AD70-AD3C29B3ABE7}" type="parTrans" cxnId="{E8DA82E3-31F0-4DB5-B32B-7B2DE1E4A63F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0D10EEBD-13B7-4D5C-B33B-D919553476C2}" type="sibTrans" cxnId="{E8DA82E3-31F0-4DB5-B32B-7B2DE1E4A63F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9CB2DD46-44E0-4B1F-BC95-E862EDEBE99A}">
      <dgm:prSet/>
      <dgm:spPr/>
      <dgm:t>
        <a:bodyPr/>
        <a:lstStyle/>
        <a:p>
          <a:r>
            <a:rPr lang="de-DE" altLang="de-DE" spc="300">
              <a:latin typeface="+mn-lt"/>
            </a:rPr>
            <a:t>Visitan fines de semana</a:t>
          </a:r>
          <a:endParaRPr lang="de-DE" altLang="de-DE" spc="300" dirty="0">
            <a:latin typeface="+mn-lt"/>
          </a:endParaRPr>
        </a:p>
      </dgm:t>
    </dgm:pt>
    <dgm:pt modelId="{BF0914E1-5402-4DBC-A368-290D448EFEB1}" type="parTrans" cxnId="{BF68642C-E747-497E-B08C-FD95D591CDB4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7113AFD6-92AE-4454-99F4-2E8DC37B9E3A}" type="sibTrans" cxnId="{BF68642C-E747-497E-B08C-FD95D591CDB4}">
      <dgm:prSet/>
      <dgm:spPr/>
      <dgm:t>
        <a:bodyPr/>
        <a:lstStyle/>
        <a:p>
          <a:endParaRPr lang="es-EC">
            <a:latin typeface="+mn-lt"/>
          </a:endParaRPr>
        </a:p>
      </dgm:t>
    </dgm:pt>
    <dgm:pt modelId="{7C52BCBB-D1EA-4680-8E02-470B2BDE3C52}" type="pres">
      <dgm:prSet presAssocID="{A912CACF-B313-4185-BF6E-AE5A092F0096}" presName="compositeShape" presStyleCnt="0">
        <dgm:presLayoutVars>
          <dgm:dir/>
          <dgm:resizeHandles/>
        </dgm:presLayoutVars>
      </dgm:prSet>
      <dgm:spPr/>
    </dgm:pt>
    <dgm:pt modelId="{B3FC601C-E6B1-4229-851C-631FE60D0ABF}" type="pres">
      <dgm:prSet presAssocID="{A912CACF-B313-4185-BF6E-AE5A092F0096}" presName="pyramid" presStyleLbl="node1" presStyleIdx="0" presStyleCnt="1"/>
      <dgm:spPr>
        <a:noFill/>
        <a:ln>
          <a:noFill/>
        </a:ln>
      </dgm:spPr>
    </dgm:pt>
    <dgm:pt modelId="{C0D75988-0B27-482D-8CA5-F221F6BE6531}" type="pres">
      <dgm:prSet presAssocID="{A912CACF-B313-4185-BF6E-AE5A092F0096}" presName="theList" presStyleCnt="0"/>
      <dgm:spPr/>
    </dgm:pt>
    <dgm:pt modelId="{4CF00197-DEDE-43BF-9669-07237C0C97BA}" type="pres">
      <dgm:prSet presAssocID="{B668B98D-B59F-49A6-A3DB-BA53A245716C}" presName="aNode" presStyleLbl="fgAcc1" presStyleIdx="0" presStyleCnt="6">
        <dgm:presLayoutVars>
          <dgm:bulletEnabled val="1"/>
        </dgm:presLayoutVars>
      </dgm:prSet>
      <dgm:spPr/>
    </dgm:pt>
    <dgm:pt modelId="{1F68CD53-1354-4713-9013-D84EF4F6DA2A}" type="pres">
      <dgm:prSet presAssocID="{B668B98D-B59F-49A6-A3DB-BA53A245716C}" presName="aSpace" presStyleCnt="0"/>
      <dgm:spPr/>
    </dgm:pt>
    <dgm:pt modelId="{BF31DC8C-75D0-4B1A-90BF-BEADDCF47BF5}" type="pres">
      <dgm:prSet presAssocID="{EEAEB6D7-EF39-49C5-95C0-87797DC0F893}" presName="aNode" presStyleLbl="fgAcc1" presStyleIdx="1" presStyleCnt="6">
        <dgm:presLayoutVars>
          <dgm:bulletEnabled val="1"/>
        </dgm:presLayoutVars>
      </dgm:prSet>
      <dgm:spPr/>
    </dgm:pt>
    <dgm:pt modelId="{94967D6C-0A87-4182-8302-7FB77A849CA1}" type="pres">
      <dgm:prSet presAssocID="{EEAEB6D7-EF39-49C5-95C0-87797DC0F893}" presName="aSpace" presStyleCnt="0"/>
      <dgm:spPr/>
    </dgm:pt>
    <dgm:pt modelId="{24E43581-2322-4231-A92D-F64533A27645}" type="pres">
      <dgm:prSet presAssocID="{8C647DDE-0B07-4C43-BB9C-9C775B053AAB}" presName="aNode" presStyleLbl="fgAcc1" presStyleIdx="2" presStyleCnt="6">
        <dgm:presLayoutVars>
          <dgm:bulletEnabled val="1"/>
        </dgm:presLayoutVars>
      </dgm:prSet>
      <dgm:spPr/>
    </dgm:pt>
    <dgm:pt modelId="{A12F7EE2-2026-4D56-A39F-FD2009E587A0}" type="pres">
      <dgm:prSet presAssocID="{8C647DDE-0B07-4C43-BB9C-9C775B053AAB}" presName="aSpace" presStyleCnt="0"/>
      <dgm:spPr/>
    </dgm:pt>
    <dgm:pt modelId="{8256EF77-1D04-4818-9750-3C2AD541AEEE}" type="pres">
      <dgm:prSet presAssocID="{94F3C5FA-86DB-4640-8EEA-55707FEBDCA1}" presName="aNode" presStyleLbl="fgAcc1" presStyleIdx="3" presStyleCnt="6">
        <dgm:presLayoutVars>
          <dgm:bulletEnabled val="1"/>
        </dgm:presLayoutVars>
      </dgm:prSet>
      <dgm:spPr/>
    </dgm:pt>
    <dgm:pt modelId="{18FB41F3-A8F6-4CC8-B79C-26819E41859D}" type="pres">
      <dgm:prSet presAssocID="{94F3C5FA-86DB-4640-8EEA-55707FEBDCA1}" presName="aSpace" presStyleCnt="0"/>
      <dgm:spPr/>
    </dgm:pt>
    <dgm:pt modelId="{ACA4BB44-1453-43B4-8CAA-3F9A011E5B53}" type="pres">
      <dgm:prSet presAssocID="{A72495E8-60D3-4075-B44E-D22CECEE95E5}" presName="aNode" presStyleLbl="fgAcc1" presStyleIdx="4" presStyleCnt="6">
        <dgm:presLayoutVars>
          <dgm:bulletEnabled val="1"/>
        </dgm:presLayoutVars>
      </dgm:prSet>
      <dgm:spPr/>
    </dgm:pt>
    <dgm:pt modelId="{104CA904-7C96-4A6E-BEDC-D57F4417FCC8}" type="pres">
      <dgm:prSet presAssocID="{A72495E8-60D3-4075-B44E-D22CECEE95E5}" presName="aSpace" presStyleCnt="0"/>
      <dgm:spPr/>
    </dgm:pt>
    <dgm:pt modelId="{F740942C-E88F-462E-88E5-4DE9652650D6}" type="pres">
      <dgm:prSet presAssocID="{9CB2DD46-44E0-4B1F-BC95-E862EDEBE99A}" presName="aNode" presStyleLbl="fgAcc1" presStyleIdx="5" presStyleCnt="6">
        <dgm:presLayoutVars>
          <dgm:bulletEnabled val="1"/>
        </dgm:presLayoutVars>
      </dgm:prSet>
      <dgm:spPr/>
    </dgm:pt>
    <dgm:pt modelId="{A0B1C56F-9005-4A40-841A-EC9BA59725BB}" type="pres">
      <dgm:prSet presAssocID="{9CB2DD46-44E0-4B1F-BC95-E862EDEBE99A}" presName="aSpace" presStyleCnt="0"/>
      <dgm:spPr/>
    </dgm:pt>
  </dgm:ptLst>
  <dgm:cxnLst>
    <dgm:cxn modelId="{05E1010C-3464-45E8-BFF9-18D7A45751BE}" type="presOf" srcId="{EEAEB6D7-EF39-49C5-95C0-87797DC0F893}" destId="{BF31DC8C-75D0-4B1A-90BF-BEADDCF47BF5}" srcOrd="0" destOrd="0" presId="urn:microsoft.com/office/officeart/2005/8/layout/pyramid2"/>
    <dgm:cxn modelId="{65F4440C-5F13-4536-A259-D1E41E4A837C}" type="presOf" srcId="{9CB2DD46-44E0-4B1F-BC95-E862EDEBE99A}" destId="{F740942C-E88F-462E-88E5-4DE9652650D6}" srcOrd="0" destOrd="0" presId="urn:microsoft.com/office/officeart/2005/8/layout/pyramid2"/>
    <dgm:cxn modelId="{4DA6AB18-17D4-4EB7-A033-A2E73E8C5E27}" srcId="{A912CACF-B313-4185-BF6E-AE5A092F0096}" destId="{8C647DDE-0B07-4C43-BB9C-9C775B053AAB}" srcOrd="2" destOrd="0" parTransId="{79A548D0-733A-42DD-B0DB-38ADBFD678B0}" sibTransId="{9326AD6E-33F1-467B-B4C8-B85904B30004}"/>
    <dgm:cxn modelId="{BF68642C-E747-497E-B08C-FD95D591CDB4}" srcId="{A912CACF-B313-4185-BF6E-AE5A092F0096}" destId="{9CB2DD46-44E0-4B1F-BC95-E862EDEBE99A}" srcOrd="5" destOrd="0" parTransId="{BF0914E1-5402-4DBC-A368-290D448EFEB1}" sibTransId="{7113AFD6-92AE-4454-99F4-2E8DC37B9E3A}"/>
    <dgm:cxn modelId="{67BBA65F-7724-4F56-B27D-43B9CB273DC1}" type="presOf" srcId="{A912CACF-B313-4185-BF6E-AE5A092F0096}" destId="{7C52BCBB-D1EA-4680-8E02-470B2BDE3C52}" srcOrd="0" destOrd="0" presId="urn:microsoft.com/office/officeart/2005/8/layout/pyramid2"/>
    <dgm:cxn modelId="{A7988068-F43C-4F13-9D42-53949A8AB693}" type="presOf" srcId="{A72495E8-60D3-4075-B44E-D22CECEE95E5}" destId="{ACA4BB44-1453-43B4-8CAA-3F9A011E5B53}" srcOrd="0" destOrd="0" presId="urn:microsoft.com/office/officeart/2005/8/layout/pyramid2"/>
    <dgm:cxn modelId="{7E96034B-2ABE-432F-A958-6272F6A5C435}" srcId="{A912CACF-B313-4185-BF6E-AE5A092F0096}" destId="{94F3C5FA-86DB-4640-8EEA-55707FEBDCA1}" srcOrd="3" destOrd="0" parTransId="{89A08066-11D2-4793-ABB4-3B52697EE963}" sibTransId="{E45760F9-1DF3-4DF4-8512-995B9CE672C9}"/>
    <dgm:cxn modelId="{3A6D5C56-0A4B-4A31-8585-9A4E385897F3}" type="presOf" srcId="{8C647DDE-0B07-4C43-BB9C-9C775B053AAB}" destId="{24E43581-2322-4231-A92D-F64533A27645}" srcOrd="0" destOrd="0" presId="urn:microsoft.com/office/officeart/2005/8/layout/pyramid2"/>
    <dgm:cxn modelId="{E3F4CEA6-149C-49D3-8008-BB21CF37914B}" srcId="{A912CACF-B313-4185-BF6E-AE5A092F0096}" destId="{EEAEB6D7-EF39-49C5-95C0-87797DC0F893}" srcOrd="1" destOrd="0" parTransId="{5B1A620E-2855-49A0-8D42-D151589A15C3}" sibTransId="{870A8321-7A7B-4550-BA67-51857B735AC0}"/>
    <dgm:cxn modelId="{31D66BA7-C7F7-4BD8-BFF8-09A7484981F5}" type="presOf" srcId="{B668B98D-B59F-49A6-A3DB-BA53A245716C}" destId="{4CF00197-DEDE-43BF-9669-07237C0C97BA}" srcOrd="0" destOrd="0" presId="urn:microsoft.com/office/officeart/2005/8/layout/pyramid2"/>
    <dgm:cxn modelId="{AABE28CD-322E-46CB-9BEF-72FE8F96505E}" type="presOf" srcId="{94F3C5FA-86DB-4640-8EEA-55707FEBDCA1}" destId="{8256EF77-1D04-4818-9750-3C2AD541AEEE}" srcOrd="0" destOrd="0" presId="urn:microsoft.com/office/officeart/2005/8/layout/pyramid2"/>
    <dgm:cxn modelId="{E8DA82E3-31F0-4DB5-B32B-7B2DE1E4A63F}" srcId="{A912CACF-B313-4185-BF6E-AE5A092F0096}" destId="{A72495E8-60D3-4075-B44E-D22CECEE95E5}" srcOrd="4" destOrd="0" parTransId="{23CB892C-DFB1-4638-AD70-AD3C29B3ABE7}" sibTransId="{0D10EEBD-13B7-4D5C-B33B-D919553476C2}"/>
    <dgm:cxn modelId="{437BCBEF-033B-4BA5-B21B-B90FB7DF191F}" srcId="{A912CACF-B313-4185-BF6E-AE5A092F0096}" destId="{B668B98D-B59F-49A6-A3DB-BA53A245716C}" srcOrd="0" destOrd="0" parTransId="{7FAE89C9-9FA8-4E66-B1C8-5F6F72C0EB36}" sibTransId="{2FBF8C7C-90F3-48CD-9A3C-E2BC9CA0BF81}"/>
    <dgm:cxn modelId="{4984A7AE-A9C5-4661-B0F8-7B615F58A60C}" type="presParOf" srcId="{7C52BCBB-D1EA-4680-8E02-470B2BDE3C52}" destId="{B3FC601C-E6B1-4229-851C-631FE60D0ABF}" srcOrd="0" destOrd="0" presId="urn:microsoft.com/office/officeart/2005/8/layout/pyramid2"/>
    <dgm:cxn modelId="{FC4E26A2-A764-4274-98A1-929129D77A5A}" type="presParOf" srcId="{7C52BCBB-D1EA-4680-8E02-470B2BDE3C52}" destId="{C0D75988-0B27-482D-8CA5-F221F6BE6531}" srcOrd="1" destOrd="0" presId="urn:microsoft.com/office/officeart/2005/8/layout/pyramid2"/>
    <dgm:cxn modelId="{D84B2DD2-4F1F-4682-98D8-15B84718BC65}" type="presParOf" srcId="{C0D75988-0B27-482D-8CA5-F221F6BE6531}" destId="{4CF00197-DEDE-43BF-9669-07237C0C97BA}" srcOrd="0" destOrd="0" presId="urn:microsoft.com/office/officeart/2005/8/layout/pyramid2"/>
    <dgm:cxn modelId="{A83D8A26-AA3B-4ADA-BF16-A19330166DC7}" type="presParOf" srcId="{C0D75988-0B27-482D-8CA5-F221F6BE6531}" destId="{1F68CD53-1354-4713-9013-D84EF4F6DA2A}" srcOrd="1" destOrd="0" presId="urn:microsoft.com/office/officeart/2005/8/layout/pyramid2"/>
    <dgm:cxn modelId="{098244E2-5396-471B-8BD3-7CEB27808C5B}" type="presParOf" srcId="{C0D75988-0B27-482D-8CA5-F221F6BE6531}" destId="{BF31DC8C-75D0-4B1A-90BF-BEADDCF47BF5}" srcOrd="2" destOrd="0" presId="urn:microsoft.com/office/officeart/2005/8/layout/pyramid2"/>
    <dgm:cxn modelId="{012E4796-45AC-46B9-B706-199316014D03}" type="presParOf" srcId="{C0D75988-0B27-482D-8CA5-F221F6BE6531}" destId="{94967D6C-0A87-4182-8302-7FB77A849CA1}" srcOrd="3" destOrd="0" presId="urn:microsoft.com/office/officeart/2005/8/layout/pyramid2"/>
    <dgm:cxn modelId="{88A93D94-0B88-4D5A-8F8A-6E94417592A4}" type="presParOf" srcId="{C0D75988-0B27-482D-8CA5-F221F6BE6531}" destId="{24E43581-2322-4231-A92D-F64533A27645}" srcOrd="4" destOrd="0" presId="urn:microsoft.com/office/officeart/2005/8/layout/pyramid2"/>
    <dgm:cxn modelId="{EB743A50-C6D9-4946-B92E-28714E005ED6}" type="presParOf" srcId="{C0D75988-0B27-482D-8CA5-F221F6BE6531}" destId="{A12F7EE2-2026-4D56-A39F-FD2009E587A0}" srcOrd="5" destOrd="0" presId="urn:microsoft.com/office/officeart/2005/8/layout/pyramid2"/>
    <dgm:cxn modelId="{80D3D8EF-52C8-406C-9404-7374FAA1460F}" type="presParOf" srcId="{C0D75988-0B27-482D-8CA5-F221F6BE6531}" destId="{8256EF77-1D04-4818-9750-3C2AD541AEEE}" srcOrd="6" destOrd="0" presId="urn:microsoft.com/office/officeart/2005/8/layout/pyramid2"/>
    <dgm:cxn modelId="{D5BAAE6F-CC6C-4CE3-AFFC-C55655464B74}" type="presParOf" srcId="{C0D75988-0B27-482D-8CA5-F221F6BE6531}" destId="{18FB41F3-A8F6-4CC8-B79C-26819E41859D}" srcOrd="7" destOrd="0" presId="urn:microsoft.com/office/officeart/2005/8/layout/pyramid2"/>
    <dgm:cxn modelId="{4A63DBA6-F48C-40F0-91EA-C8967DE202D4}" type="presParOf" srcId="{C0D75988-0B27-482D-8CA5-F221F6BE6531}" destId="{ACA4BB44-1453-43B4-8CAA-3F9A011E5B53}" srcOrd="8" destOrd="0" presId="urn:microsoft.com/office/officeart/2005/8/layout/pyramid2"/>
    <dgm:cxn modelId="{5F3F4753-86D6-4717-B5E3-D10140926C5E}" type="presParOf" srcId="{C0D75988-0B27-482D-8CA5-F221F6BE6531}" destId="{104CA904-7C96-4A6E-BEDC-D57F4417FCC8}" srcOrd="9" destOrd="0" presId="urn:microsoft.com/office/officeart/2005/8/layout/pyramid2"/>
    <dgm:cxn modelId="{8342E0F8-B1BD-4693-8E45-5921D6700041}" type="presParOf" srcId="{C0D75988-0B27-482D-8CA5-F221F6BE6531}" destId="{F740942C-E88F-462E-88E5-4DE9652650D6}" srcOrd="10" destOrd="0" presId="urn:microsoft.com/office/officeart/2005/8/layout/pyramid2"/>
    <dgm:cxn modelId="{71230447-E2C6-4FEF-9F97-FAC59924A592}" type="presParOf" srcId="{C0D75988-0B27-482D-8CA5-F221F6BE6531}" destId="{A0B1C56F-9005-4A40-841A-EC9BA59725BB}" srcOrd="1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5A5BA1F-292B-4B81-814E-E74EC450B31B}" type="doc">
      <dgm:prSet loTypeId="urn:microsoft.com/office/officeart/2005/8/layout/chevron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EC"/>
        </a:p>
      </dgm:t>
    </dgm:pt>
    <dgm:pt modelId="{23AAF49C-26A7-4FAF-A756-1E89137D26E8}">
      <dgm:prSet phldrT="[Texto]"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Atención al cliente</a:t>
          </a:r>
          <a:endParaRPr lang="es-EC" dirty="0">
            <a:solidFill>
              <a:schemeClr val="bg1"/>
            </a:solidFill>
          </a:endParaRPr>
        </a:p>
      </dgm:t>
    </dgm:pt>
    <dgm:pt modelId="{98C48A6A-BD8F-4214-B86B-40115CA31464}" type="parTrans" cxnId="{78444C98-4809-438A-8AE3-DB599F43EF9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639ECD84-EAFD-44B2-9467-DC6A0E1D4014}" type="sibTrans" cxnId="{78444C98-4809-438A-8AE3-DB599F43EF9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48AEBC03-7479-45E4-B56F-FE8D4287D10F}">
      <dgm:prSet phldrT="[Texto]"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Protocolos de Bioseguridad </a:t>
          </a:r>
          <a:endParaRPr lang="es-EC" dirty="0">
            <a:solidFill>
              <a:schemeClr val="bg1"/>
            </a:solidFill>
          </a:endParaRPr>
        </a:p>
      </dgm:t>
    </dgm:pt>
    <dgm:pt modelId="{854150C3-C281-4FB7-AEB3-536A52ECFB07}" type="parTrans" cxnId="{625881D1-6DD2-4692-9E0C-BA44BBE02F5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5618FB62-70EF-4590-9990-7653E6AA2AF2}" type="sibTrans" cxnId="{625881D1-6DD2-4692-9E0C-BA44BBE02F5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EB726F85-9CFD-4D50-B51F-34894DF7551A}">
      <dgm:prSet phldrT="[Texto]"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Servicio post Venta</a:t>
          </a:r>
          <a:endParaRPr lang="es-EC" dirty="0">
            <a:solidFill>
              <a:schemeClr val="bg1"/>
            </a:solidFill>
          </a:endParaRPr>
        </a:p>
      </dgm:t>
    </dgm:pt>
    <dgm:pt modelId="{E484D61A-8B64-43D6-AAE6-12BE5B4CF873}" type="parTrans" cxnId="{48595223-508D-4B34-8AC1-5B8B3DFAAC8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FFD96FD9-9B30-4B2A-AC6C-224B75131FC0}" type="sibTrans" cxnId="{48595223-508D-4B34-8AC1-5B8B3DFAAC8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9022E2C3-C320-483A-AED6-4238E2697154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Conceptos básicos</a:t>
          </a:r>
          <a:endParaRPr lang="es-EC" dirty="0">
            <a:solidFill>
              <a:schemeClr val="bg1"/>
            </a:solidFill>
          </a:endParaRPr>
        </a:p>
      </dgm:t>
    </dgm:pt>
    <dgm:pt modelId="{DC017037-0461-4AFE-8D93-B2A104111F37}" type="parTrans" cxnId="{8F1D647D-7134-456E-9454-1259AE06E850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ACD5C468-FBA4-4EFD-AF03-D4A4F2B9B726}" type="sibTrans" cxnId="{8F1D647D-7134-456E-9454-1259AE06E850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233B3216-DA44-4473-85F1-5F02A7A927B3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Tipos de servicios</a:t>
          </a:r>
          <a:endParaRPr lang="es-EC" dirty="0">
            <a:solidFill>
              <a:schemeClr val="bg1"/>
            </a:solidFill>
          </a:endParaRPr>
        </a:p>
      </dgm:t>
    </dgm:pt>
    <dgm:pt modelId="{5011C63B-2395-47A9-8172-281EFC86BEB1}" type="parTrans" cxnId="{E463EB0C-00EF-4224-9503-0562862FC2FB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32D012D5-CCC7-4E9C-A3C4-5695C2D76F16}" type="sibTrans" cxnId="{E463EB0C-00EF-4224-9503-0562862FC2FB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67CD522A-2736-4E3C-A1FC-BDDB136E260E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Retroalimentación</a:t>
          </a:r>
          <a:endParaRPr lang="es-EC" dirty="0">
            <a:solidFill>
              <a:schemeClr val="bg1"/>
            </a:solidFill>
          </a:endParaRPr>
        </a:p>
      </dgm:t>
    </dgm:pt>
    <dgm:pt modelId="{BB23F703-EF29-4C18-8205-09515B0C001F}" type="parTrans" cxnId="{B8AB9790-16C7-4277-9582-EE00436FEE57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12C1FDDF-A595-43AC-9DA2-95D1565EA287}" type="sibTrans" cxnId="{B8AB9790-16C7-4277-9582-EE00436FEE57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79EABF22-AD4F-4A14-805A-FEB760AA507C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Taller práctico</a:t>
          </a:r>
          <a:endParaRPr lang="es-EC" dirty="0">
            <a:solidFill>
              <a:schemeClr val="bg1"/>
            </a:solidFill>
          </a:endParaRPr>
        </a:p>
      </dgm:t>
    </dgm:pt>
    <dgm:pt modelId="{B6AE79C9-471F-47CC-AE26-51BD9A752D28}" type="parTrans" cxnId="{1DCBD20A-7371-4EBF-9247-73FFD8E9DBA1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313ABA2D-7A11-4A3F-B11B-730B20EF111B}" type="sibTrans" cxnId="{1DCBD20A-7371-4EBF-9247-73FFD8E9DBA1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78B69CEF-6DCB-45B4-840A-AA0969F8A7CC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Introducción</a:t>
          </a:r>
          <a:endParaRPr lang="es-EC" dirty="0">
            <a:solidFill>
              <a:schemeClr val="bg1"/>
            </a:solidFill>
          </a:endParaRPr>
        </a:p>
      </dgm:t>
    </dgm:pt>
    <dgm:pt modelId="{C2B6CB83-4DE1-430D-805E-78AE663827AF}" type="parTrans" cxnId="{5BD4D84B-5E99-4BA3-BC6E-CFAA93EF62B3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A1381D15-5B18-46F9-B79A-B28C1F32918C}" type="sibTrans" cxnId="{5BD4D84B-5E99-4BA3-BC6E-CFAA93EF62B3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4F51C125-CFF6-48E0-9EF1-848432423C90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Técnicas de Bioseguridad</a:t>
          </a:r>
          <a:endParaRPr lang="es-EC" dirty="0">
            <a:solidFill>
              <a:schemeClr val="bg1"/>
            </a:solidFill>
          </a:endParaRPr>
        </a:p>
      </dgm:t>
    </dgm:pt>
    <dgm:pt modelId="{F3D7031D-35C9-4474-8584-E96C42D5F0AC}" type="parTrans" cxnId="{FF347C89-D6C3-4A94-BA82-C7A4200A27FB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1EBB2001-6905-45FF-9C66-A4022BEBCB94}" type="sibTrans" cxnId="{FF347C89-D6C3-4A94-BA82-C7A4200A27FB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AD5E40E8-151F-48C2-8073-FEC435F5AFBB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Medidas Preventivas </a:t>
          </a:r>
          <a:endParaRPr lang="es-EC" dirty="0">
            <a:solidFill>
              <a:schemeClr val="bg1"/>
            </a:solidFill>
          </a:endParaRPr>
        </a:p>
      </dgm:t>
    </dgm:pt>
    <dgm:pt modelId="{92E65A58-272B-4B4A-81F2-0C9AE04FC958}" type="parTrans" cxnId="{F5405742-2AEC-4D2B-A07A-CF1926DC4261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7EB2D869-A16A-471E-8697-AE46BFE8AFD4}" type="sibTrans" cxnId="{F5405742-2AEC-4D2B-A07A-CF1926DC4261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82F6F827-8CB4-4531-8801-EDEF41E4CE3A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Taller Práctico</a:t>
          </a:r>
          <a:endParaRPr lang="es-EC" dirty="0">
            <a:solidFill>
              <a:schemeClr val="bg1"/>
            </a:solidFill>
          </a:endParaRPr>
        </a:p>
      </dgm:t>
    </dgm:pt>
    <dgm:pt modelId="{9F5FB31D-748D-4A94-AFF6-7AF145E93115}" type="parTrans" cxnId="{9BD54237-1E74-4EE9-A490-255C3286CD93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E8254374-6D5F-40E2-A6C3-769C6CEFC16D}" type="sibTrans" cxnId="{9BD54237-1E74-4EE9-A490-255C3286CD93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D82EB0D2-005A-4BEB-91B1-98C04A20648B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Definición servicio post venta</a:t>
          </a:r>
          <a:endParaRPr lang="es-EC" dirty="0">
            <a:solidFill>
              <a:schemeClr val="bg1"/>
            </a:solidFill>
          </a:endParaRPr>
        </a:p>
      </dgm:t>
    </dgm:pt>
    <dgm:pt modelId="{CE8FFE91-1A1C-4A45-BCBF-6C5BD4CF1EA3}" type="parTrans" cxnId="{D1745016-4216-4FE5-B14F-94C5E8873F7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C2F3D549-6FB1-429D-B6F9-7E0DF076F60C}" type="sibTrans" cxnId="{D1745016-4216-4FE5-B14F-94C5E8873F7A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746E8464-8522-4C8D-9890-34B6A66EE9AA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Técnicas de servicio post venta</a:t>
          </a:r>
          <a:endParaRPr lang="es-EC" dirty="0">
            <a:solidFill>
              <a:schemeClr val="bg1"/>
            </a:solidFill>
          </a:endParaRPr>
        </a:p>
      </dgm:t>
    </dgm:pt>
    <dgm:pt modelId="{0D44FF9F-47A7-4D42-8E36-FF1A3D93811D}" type="parTrans" cxnId="{46A33AAB-33A5-4C4F-B899-B74221388BA5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EA16A9DA-FF26-43F4-9449-D243B9293F49}" type="sibTrans" cxnId="{46A33AAB-33A5-4C4F-B899-B74221388BA5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CE69DE36-EF6D-4D01-A2E8-7F8E0164EEDD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Gestión de Quejas y reclamos</a:t>
          </a:r>
          <a:endParaRPr lang="es-EC" dirty="0">
            <a:solidFill>
              <a:schemeClr val="bg1"/>
            </a:solidFill>
          </a:endParaRPr>
        </a:p>
      </dgm:t>
    </dgm:pt>
    <dgm:pt modelId="{2E42D75E-CCC0-459E-8A29-8C5A9B602D37}" type="parTrans" cxnId="{D2D378CB-A661-46BC-AE98-06B2D353796E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374648D2-554B-4A67-A402-B5A13D8B85A7}" type="sibTrans" cxnId="{D2D378CB-A661-46BC-AE98-06B2D353796E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EF2F08A8-765D-4E03-9D37-E16CB12FCD3A}">
      <dgm:prSet/>
      <dgm:spPr/>
      <dgm:t>
        <a:bodyPr/>
        <a:lstStyle/>
        <a:p>
          <a:r>
            <a:rPr lang="es-ES" dirty="0">
              <a:solidFill>
                <a:schemeClr val="bg1"/>
              </a:solidFill>
            </a:rPr>
            <a:t>Seguimiento y corrección de problemas </a:t>
          </a:r>
          <a:endParaRPr lang="es-EC" dirty="0">
            <a:solidFill>
              <a:schemeClr val="bg1"/>
            </a:solidFill>
          </a:endParaRPr>
        </a:p>
      </dgm:t>
    </dgm:pt>
    <dgm:pt modelId="{8FBCDE67-A3D1-4CA9-AB59-7BC8283F8867}" type="parTrans" cxnId="{02919DB1-9176-4544-AD51-333973331900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12FEAC62-8F52-4F17-B1E8-448AB6A891A7}" type="sibTrans" cxnId="{02919DB1-9176-4544-AD51-333973331900}">
      <dgm:prSet/>
      <dgm:spPr/>
      <dgm:t>
        <a:bodyPr/>
        <a:lstStyle/>
        <a:p>
          <a:endParaRPr lang="es-EC">
            <a:solidFill>
              <a:schemeClr val="bg1"/>
            </a:solidFill>
          </a:endParaRPr>
        </a:p>
      </dgm:t>
    </dgm:pt>
    <dgm:pt modelId="{397BEFF5-4075-452B-A41D-F4D532DC7486}" type="pres">
      <dgm:prSet presAssocID="{C5A5BA1F-292B-4B81-814E-E74EC450B31B}" presName="linearFlow" presStyleCnt="0">
        <dgm:presLayoutVars>
          <dgm:dir/>
          <dgm:animLvl val="lvl"/>
          <dgm:resizeHandles val="exact"/>
        </dgm:presLayoutVars>
      </dgm:prSet>
      <dgm:spPr/>
    </dgm:pt>
    <dgm:pt modelId="{A7CE5EBB-0AFE-41FC-838C-03438BB6E233}" type="pres">
      <dgm:prSet presAssocID="{23AAF49C-26A7-4FAF-A756-1E89137D26E8}" presName="composite" presStyleCnt="0"/>
      <dgm:spPr/>
    </dgm:pt>
    <dgm:pt modelId="{289A0DE1-0099-4440-AAD3-04BD379A2274}" type="pres">
      <dgm:prSet presAssocID="{23AAF49C-26A7-4FAF-A756-1E89137D26E8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713B7AAE-2767-4111-B6F5-861A1544BCE8}" type="pres">
      <dgm:prSet presAssocID="{23AAF49C-26A7-4FAF-A756-1E89137D26E8}" presName="descendantText" presStyleLbl="alignAcc1" presStyleIdx="0" presStyleCnt="3" custLinFactNeighborY="3496">
        <dgm:presLayoutVars>
          <dgm:bulletEnabled val="1"/>
        </dgm:presLayoutVars>
      </dgm:prSet>
      <dgm:spPr/>
    </dgm:pt>
    <dgm:pt modelId="{3847E496-9B95-4CE5-A6DE-A85D6BC7F2C3}" type="pres">
      <dgm:prSet presAssocID="{639ECD84-EAFD-44B2-9467-DC6A0E1D4014}" presName="sp" presStyleCnt="0"/>
      <dgm:spPr/>
    </dgm:pt>
    <dgm:pt modelId="{25940780-5FD3-496B-AF20-2C05795C7636}" type="pres">
      <dgm:prSet presAssocID="{48AEBC03-7479-45E4-B56F-FE8D4287D10F}" presName="composite" presStyleCnt="0"/>
      <dgm:spPr/>
    </dgm:pt>
    <dgm:pt modelId="{24E90F79-C4D2-4229-A680-5BFDE8E95732}" type="pres">
      <dgm:prSet presAssocID="{48AEBC03-7479-45E4-B56F-FE8D4287D10F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B3061EC0-674C-4275-9315-83CFE9F334F8}" type="pres">
      <dgm:prSet presAssocID="{48AEBC03-7479-45E4-B56F-FE8D4287D10F}" presName="descendantText" presStyleLbl="alignAcc1" presStyleIdx="1" presStyleCnt="3">
        <dgm:presLayoutVars>
          <dgm:bulletEnabled val="1"/>
        </dgm:presLayoutVars>
      </dgm:prSet>
      <dgm:spPr/>
    </dgm:pt>
    <dgm:pt modelId="{E708ADA7-B37D-41EC-999B-FF676C53E43C}" type="pres">
      <dgm:prSet presAssocID="{5618FB62-70EF-4590-9990-7653E6AA2AF2}" presName="sp" presStyleCnt="0"/>
      <dgm:spPr/>
    </dgm:pt>
    <dgm:pt modelId="{8232653D-20E7-4DB0-B812-B172CB5EFBE8}" type="pres">
      <dgm:prSet presAssocID="{EB726F85-9CFD-4D50-B51F-34894DF7551A}" presName="composite" presStyleCnt="0"/>
      <dgm:spPr/>
    </dgm:pt>
    <dgm:pt modelId="{D42395FB-4509-4E7A-80DF-03EDE9BBCDE3}" type="pres">
      <dgm:prSet presAssocID="{EB726F85-9CFD-4D50-B51F-34894DF7551A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AD4BEDFE-6D43-4FE9-BC8F-BF708E21FE86}" type="pres">
      <dgm:prSet presAssocID="{EB726F85-9CFD-4D50-B51F-34894DF7551A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F9D80001-DBE0-428F-AC20-211AA7694418}" type="presOf" srcId="{9022E2C3-C320-483A-AED6-4238E2697154}" destId="{713B7AAE-2767-4111-B6F5-861A1544BCE8}" srcOrd="0" destOrd="0" presId="urn:microsoft.com/office/officeart/2005/8/layout/chevron2"/>
    <dgm:cxn modelId="{F1283307-FCDC-4416-AF24-44ADCFEBF926}" type="presOf" srcId="{48AEBC03-7479-45E4-B56F-FE8D4287D10F}" destId="{24E90F79-C4D2-4229-A680-5BFDE8E95732}" srcOrd="0" destOrd="0" presId="urn:microsoft.com/office/officeart/2005/8/layout/chevron2"/>
    <dgm:cxn modelId="{1DCBD20A-7371-4EBF-9247-73FFD8E9DBA1}" srcId="{23AAF49C-26A7-4FAF-A756-1E89137D26E8}" destId="{79EABF22-AD4F-4A14-805A-FEB760AA507C}" srcOrd="3" destOrd="0" parTransId="{B6AE79C9-471F-47CC-AE26-51BD9A752D28}" sibTransId="{313ABA2D-7A11-4A3F-B11B-730B20EF111B}"/>
    <dgm:cxn modelId="{E463EB0C-00EF-4224-9503-0562862FC2FB}" srcId="{23AAF49C-26A7-4FAF-A756-1E89137D26E8}" destId="{233B3216-DA44-4473-85F1-5F02A7A927B3}" srcOrd="1" destOrd="0" parTransId="{5011C63B-2395-47A9-8172-281EFC86BEB1}" sibTransId="{32D012D5-CCC7-4E9C-A3C4-5695C2D76F16}"/>
    <dgm:cxn modelId="{D1745016-4216-4FE5-B14F-94C5E8873F7A}" srcId="{EB726F85-9CFD-4D50-B51F-34894DF7551A}" destId="{D82EB0D2-005A-4BEB-91B1-98C04A20648B}" srcOrd="0" destOrd="0" parTransId="{CE8FFE91-1A1C-4A45-BCBF-6C5BD4CF1EA3}" sibTransId="{C2F3D549-6FB1-429D-B6F9-7E0DF076F60C}"/>
    <dgm:cxn modelId="{3665C019-86E3-48CA-8789-B2EC68370CBF}" type="presOf" srcId="{746E8464-8522-4C8D-9890-34B6A66EE9AA}" destId="{AD4BEDFE-6D43-4FE9-BC8F-BF708E21FE86}" srcOrd="0" destOrd="1" presId="urn:microsoft.com/office/officeart/2005/8/layout/chevron2"/>
    <dgm:cxn modelId="{48595223-508D-4B34-8AC1-5B8B3DFAAC8A}" srcId="{C5A5BA1F-292B-4B81-814E-E74EC450B31B}" destId="{EB726F85-9CFD-4D50-B51F-34894DF7551A}" srcOrd="2" destOrd="0" parTransId="{E484D61A-8B64-43D6-AAE6-12BE5B4CF873}" sibTransId="{FFD96FD9-9B30-4B2A-AC6C-224B75131FC0}"/>
    <dgm:cxn modelId="{1A0EA727-AAD4-42EC-BF96-0ED8A9D87BA8}" type="presOf" srcId="{EF2F08A8-765D-4E03-9D37-E16CB12FCD3A}" destId="{AD4BEDFE-6D43-4FE9-BC8F-BF708E21FE86}" srcOrd="0" destOrd="3" presId="urn:microsoft.com/office/officeart/2005/8/layout/chevron2"/>
    <dgm:cxn modelId="{13172B37-4A5C-406F-91EE-9BD071D7CFF7}" type="presOf" srcId="{EB726F85-9CFD-4D50-B51F-34894DF7551A}" destId="{D42395FB-4509-4E7A-80DF-03EDE9BBCDE3}" srcOrd="0" destOrd="0" presId="urn:microsoft.com/office/officeart/2005/8/layout/chevron2"/>
    <dgm:cxn modelId="{9BD54237-1E74-4EE9-A490-255C3286CD93}" srcId="{48AEBC03-7479-45E4-B56F-FE8D4287D10F}" destId="{82F6F827-8CB4-4531-8801-EDEF41E4CE3A}" srcOrd="3" destOrd="0" parTransId="{9F5FB31D-748D-4A94-AFF6-7AF145E93115}" sibTransId="{E8254374-6D5F-40E2-A6C3-769C6CEFC16D}"/>
    <dgm:cxn modelId="{F5405742-2AEC-4D2B-A07A-CF1926DC4261}" srcId="{48AEBC03-7479-45E4-B56F-FE8D4287D10F}" destId="{AD5E40E8-151F-48C2-8073-FEC435F5AFBB}" srcOrd="2" destOrd="0" parTransId="{92E65A58-272B-4B4A-81F2-0C9AE04FC958}" sibTransId="{7EB2D869-A16A-471E-8697-AE46BFE8AFD4}"/>
    <dgm:cxn modelId="{5BD4D84B-5E99-4BA3-BC6E-CFAA93EF62B3}" srcId="{48AEBC03-7479-45E4-B56F-FE8D4287D10F}" destId="{78B69CEF-6DCB-45B4-840A-AA0969F8A7CC}" srcOrd="0" destOrd="0" parTransId="{C2B6CB83-4DE1-430D-805E-78AE663827AF}" sibTransId="{A1381D15-5B18-46F9-B79A-B28C1F32918C}"/>
    <dgm:cxn modelId="{9206696D-CF90-4638-9759-76964142F723}" type="presOf" srcId="{D82EB0D2-005A-4BEB-91B1-98C04A20648B}" destId="{AD4BEDFE-6D43-4FE9-BC8F-BF708E21FE86}" srcOrd="0" destOrd="0" presId="urn:microsoft.com/office/officeart/2005/8/layout/chevron2"/>
    <dgm:cxn modelId="{AF534875-94A4-4F2C-80FD-46AD9695D6CC}" type="presOf" srcId="{4F51C125-CFF6-48E0-9EF1-848432423C90}" destId="{B3061EC0-674C-4275-9315-83CFE9F334F8}" srcOrd="0" destOrd="1" presId="urn:microsoft.com/office/officeart/2005/8/layout/chevron2"/>
    <dgm:cxn modelId="{2B1D097D-7180-4FB8-A9C5-6138F9E69EB7}" type="presOf" srcId="{C5A5BA1F-292B-4B81-814E-E74EC450B31B}" destId="{397BEFF5-4075-452B-A41D-F4D532DC7486}" srcOrd="0" destOrd="0" presId="urn:microsoft.com/office/officeart/2005/8/layout/chevron2"/>
    <dgm:cxn modelId="{8F1D647D-7134-456E-9454-1259AE06E850}" srcId="{23AAF49C-26A7-4FAF-A756-1E89137D26E8}" destId="{9022E2C3-C320-483A-AED6-4238E2697154}" srcOrd="0" destOrd="0" parTransId="{DC017037-0461-4AFE-8D93-B2A104111F37}" sibTransId="{ACD5C468-FBA4-4EFD-AF03-D4A4F2B9B726}"/>
    <dgm:cxn modelId="{A6641189-CCF6-4E7D-90C5-28F3959189E6}" type="presOf" srcId="{78B69CEF-6DCB-45B4-840A-AA0969F8A7CC}" destId="{B3061EC0-674C-4275-9315-83CFE9F334F8}" srcOrd="0" destOrd="0" presId="urn:microsoft.com/office/officeart/2005/8/layout/chevron2"/>
    <dgm:cxn modelId="{FF347C89-D6C3-4A94-BA82-C7A4200A27FB}" srcId="{48AEBC03-7479-45E4-B56F-FE8D4287D10F}" destId="{4F51C125-CFF6-48E0-9EF1-848432423C90}" srcOrd="1" destOrd="0" parTransId="{F3D7031D-35C9-4474-8584-E96C42D5F0AC}" sibTransId="{1EBB2001-6905-45FF-9C66-A4022BEBCB94}"/>
    <dgm:cxn modelId="{B8AB9790-16C7-4277-9582-EE00436FEE57}" srcId="{23AAF49C-26A7-4FAF-A756-1E89137D26E8}" destId="{67CD522A-2736-4E3C-A1FC-BDDB136E260E}" srcOrd="2" destOrd="0" parTransId="{BB23F703-EF29-4C18-8205-09515B0C001F}" sibTransId="{12C1FDDF-A595-43AC-9DA2-95D1565EA287}"/>
    <dgm:cxn modelId="{78444C98-4809-438A-8AE3-DB599F43EF9A}" srcId="{C5A5BA1F-292B-4B81-814E-E74EC450B31B}" destId="{23AAF49C-26A7-4FAF-A756-1E89137D26E8}" srcOrd="0" destOrd="0" parTransId="{98C48A6A-BD8F-4214-B86B-40115CA31464}" sibTransId="{639ECD84-EAFD-44B2-9467-DC6A0E1D4014}"/>
    <dgm:cxn modelId="{46A33AAB-33A5-4C4F-B899-B74221388BA5}" srcId="{EB726F85-9CFD-4D50-B51F-34894DF7551A}" destId="{746E8464-8522-4C8D-9890-34B6A66EE9AA}" srcOrd="1" destOrd="0" parTransId="{0D44FF9F-47A7-4D42-8E36-FF1A3D93811D}" sibTransId="{EA16A9DA-FF26-43F4-9449-D243B9293F49}"/>
    <dgm:cxn modelId="{D984F5AD-E729-467E-8324-2BFEA8743228}" type="presOf" srcId="{CE69DE36-EF6D-4D01-A2E8-7F8E0164EEDD}" destId="{AD4BEDFE-6D43-4FE9-BC8F-BF708E21FE86}" srcOrd="0" destOrd="2" presId="urn:microsoft.com/office/officeart/2005/8/layout/chevron2"/>
    <dgm:cxn modelId="{E26EE5AF-5EEC-4895-AA7F-CD57CDB930A7}" type="presOf" srcId="{79EABF22-AD4F-4A14-805A-FEB760AA507C}" destId="{713B7AAE-2767-4111-B6F5-861A1544BCE8}" srcOrd="0" destOrd="3" presId="urn:microsoft.com/office/officeart/2005/8/layout/chevron2"/>
    <dgm:cxn modelId="{02919DB1-9176-4544-AD51-333973331900}" srcId="{EB726F85-9CFD-4D50-B51F-34894DF7551A}" destId="{EF2F08A8-765D-4E03-9D37-E16CB12FCD3A}" srcOrd="3" destOrd="0" parTransId="{8FBCDE67-A3D1-4CA9-AB59-7BC8283F8867}" sibTransId="{12FEAC62-8F52-4F17-B1E8-448AB6A891A7}"/>
    <dgm:cxn modelId="{10CE96B3-FE7B-4B3B-A2D2-B58FE2A5CAE5}" type="presOf" srcId="{23AAF49C-26A7-4FAF-A756-1E89137D26E8}" destId="{289A0DE1-0099-4440-AAD3-04BD379A2274}" srcOrd="0" destOrd="0" presId="urn:microsoft.com/office/officeart/2005/8/layout/chevron2"/>
    <dgm:cxn modelId="{BF72BDB6-EDE5-40DE-A1AE-DADBAA3BF8AF}" type="presOf" srcId="{AD5E40E8-151F-48C2-8073-FEC435F5AFBB}" destId="{B3061EC0-674C-4275-9315-83CFE9F334F8}" srcOrd="0" destOrd="2" presId="urn:microsoft.com/office/officeart/2005/8/layout/chevron2"/>
    <dgm:cxn modelId="{B9B93ABE-1E76-4E9D-91EC-D3F6CEF33943}" type="presOf" srcId="{233B3216-DA44-4473-85F1-5F02A7A927B3}" destId="{713B7AAE-2767-4111-B6F5-861A1544BCE8}" srcOrd="0" destOrd="1" presId="urn:microsoft.com/office/officeart/2005/8/layout/chevron2"/>
    <dgm:cxn modelId="{D2D378CB-A661-46BC-AE98-06B2D353796E}" srcId="{EB726F85-9CFD-4D50-B51F-34894DF7551A}" destId="{CE69DE36-EF6D-4D01-A2E8-7F8E0164EEDD}" srcOrd="2" destOrd="0" parTransId="{2E42D75E-CCC0-459E-8A29-8C5A9B602D37}" sibTransId="{374648D2-554B-4A67-A402-B5A13D8B85A7}"/>
    <dgm:cxn modelId="{0797CBCE-BB35-4037-B3A5-4C34BDF8CFC9}" type="presOf" srcId="{82F6F827-8CB4-4531-8801-EDEF41E4CE3A}" destId="{B3061EC0-674C-4275-9315-83CFE9F334F8}" srcOrd="0" destOrd="3" presId="urn:microsoft.com/office/officeart/2005/8/layout/chevron2"/>
    <dgm:cxn modelId="{625881D1-6DD2-4692-9E0C-BA44BBE02F5A}" srcId="{C5A5BA1F-292B-4B81-814E-E74EC450B31B}" destId="{48AEBC03-7479-45E4-B56F-FE8D4287D10F}" srcOrd="1" destOrd="0" parTransId="{854150C3-C281-4FB7-AEB3-536A52ECFB07}" sibTransId="{5618FB62-70EF-4590-9990-7653E6AA2AF2}"/>
    <dgm:cxn modelId="{145F23F1-CCA6-4347-BE06-B202655F6F97}" type="presOf" srcId="{67CD522A-2736-4E3C-A1FC-BDDB136E260E}" destId="{713B7AAE-2767-4111-B6F5-861A1544BCE8}" srcOrd="0" destOrd="2" presId="urn:microsoft.com/office/officeart/2005/8/layout/chevron2"/>
    <dgm:cxn modelId="{23BD0EE2-8699-4AC6-9B77-A824C0464D25}" type="presParOf" srcId="{397BEFF5-4075-452B-A41D-F4D532DC7486}" destId="{A7CE5EBB-0AFE-41FC-838C-03438BB6E233}" srcOrd="0" destOrd="0" presId="urn:microsoft.com/office/officeart/2005/8/layout/chevron2"/>
    <dgm:cxn modelId="{DC9E665F-6DA1-46B1-BE2C-637FCF1A30F0}" type="presParOf" srcId="{A7CE5EBB-0AFE-41FC-838C-03438BB6E233}" destId="{289A0DE1-0099-4440-AAD3-04BD379A2274}" srcOrd="0" destOrd="0" presId="urn:microsoft.com/office/officeart/2005/8/layout/chevron2"/>
    <dgm:cxn modelId="{1E8372B2-6217-4952-AF18-882B5BE96B04}" type="presParOf" srcId="{A7CE5EBB-0AFE-41FC-838C-03438BB6E233}" destId="{713B7AAE-2767-4111-B6F5-861A1544BCE8}" srcOrd="1" destOrd="0" presId="urn:microsoft.com/office/officeart/2005/8/layout/chevron2"/>
    <dgm:cxn modelId="{9114774C-1A85-466C-B5FD-9970095958A5}" type="presParOf" srcId="{397BEFF5-4075-452B-A41D-F4D532DC7486}" destId="{3847E496-9B95-4CE5-A6DE-A85D6BC7F2C3}" srcOrd="1" destOrd="0" presId="urn:microsoft.com/office/officeart/2005/8/layout/chevron2"/>
    <dgm:cxn modelId="{92C3E21F-54DF-485F-8001-9B932E7C9ACE}" type="presParOf" srcId="{397BEFF5-4075-452B-A41D-F4D532DC7486}" destId="{25940780-5FD3-496B-AF20-2C05795C7636}" srcOrd="2" destOrd="0" presId="urn:microsoft.com/office/officeart/2005/8/layout/chevron2"/>
    <dgm:cxn modelId="{B4A6788C-A8C6-4B15-9E65-73C4D1020FF9}" type="presParOf" srcId="{25940780-5FD3-496B-AF20-2C05795C7636}" destId="{24E90F79-C4D2-4229-A680-5BFDE8E95732}" srcOrd="0" destOrd="0" presId="urn:microsoft.com/office/officeart/2005/8/layout/chevron2"/>
    <dgm:cxn modelId="{09789517-9E59-45D0-9B76-448D5098643B}" type="presParOf" srcId="{25940780-5FD3-496B-AF20-2C05795C7636}" destId="{B3061EC0-674C-4275-9315-83CFE9F334F8}" srcOrd="1" destOrd="0" presId="urn:microsoft.com/office/officeart/2005/8/layout/chevron2"/>
    <dgm:cxn modelId="{85D585C0-46F4-4EA3-8A7A-23D7DF29209C}" type="presParOf" srcId="{397BEFF5-4075-452B-A41D-F4D532DC7486}" destId="{E708ADA7-B37D-41EC-999B-FF676C53E43C}" srcOrd="3" destOrd="0" presId="urn:microsoft.com/office/officeart/2005/8/layout/chevron2"/>
    <dgm:cxn modelId="{734CCEA5-E1B6-4435-8D1C-6D9BF4E640A4}" type="presParOf" srcId="{397BEFF5-4075-452B-A41D-F4D532DC7486}" destId="{8232653D-20E7-4DB0-B812-B172CB5EFBE8}" srcOrd="4" destOrd="0" presId="urn:microsoft.com/office/officeart/2005/8/layout/chevron2"/>
    <dgm:cxn modelId="{68E942F1-8998-41C8-982D-8C71AD7E0819}" type="presParOf" srcId="{8232653D-20E7-4DB0-B812-B172CB5EFBE8}" destId="{D42395FB-4509-4E7A-80DF-03EDE9BBCDE3}" srcOrd="0" destOrd="0" presId="urn:microsoft.com/office/officeart/2005/8/layout/chevron2"/>
    <dgm:cxn modelId="{2FBE7B2C-DC68-42CB-A520-FA98E6D9146D}" type="presParOf" srcId="{8232653D-20E7-4DB0-B812-B172CB5EFBE8}" destId="{AD4BEDFE-6D43-4FE9-BC8F-BF708E21FE8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9DB5D36-676D-4142-8D80-63834E16205F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B12A17E3-8B30-4772-A202-D543186CABD4}">
      <dgm:prSet phldrT="[Texto]"/>
      <dgm:spPr/>
      <dgm:t>
        <a:bodyPr/>
        <a:lstStyle/>
        <a:p>
          <a:r>
            <a:rPr lang="es-ES" dirty="0"/>
            <a:t>El turismo como un sistema abierto, se relaciona con factores externos y puede convertirse en una herramienta de desarrollo integral para las comunidades con adecuada planificación. </a:t>
          </a:r>
          <a:endParaRPr lang="es-EC" dirty="0"/>
        </a:p>
      </dgm:t>
    </dgm:pt>
    <dgm:pt modelId="{E1E94CBC-6376-4110-B55B-0453A4F71F96}" type="parTrans" cxnId="{B2F681A5-77A0-4C58-A027-FAE94DA82F95}">
      <dgm:prSet/>
      <dgm:spPr/>
      <dgm:t>
        <a:bodyPr/>
        <a:lstStyle/>
        <a:p>
          <a:endParaRPr lang="es-EC"/>
        </a:p>
      </dgm:t>
    </dgm:pt>
    <dgm:pt modelId="{B435707D-A9C7-470E-A0C9-D537CA9E45D0}" type="sibTrans" cxnId="{B2F681A5-77A0-4C58-A027-FAE94DA82F95}">
      <dgm:prSet/>
      <dgm:spPr/>
      <dgm:t>
        <a:bodyPr/>
        <a:lstStyle/>
        <a:p>
          <a:endParaRPr lang="es-EC"/>
        </a:p>
      </dgm:t>
    </dgm:pt>
    <dgm:pt modelId="{7B40EBEB-6AA4-4CAF-B2A2-0E14D4E5CE9E}">
      <dgm:prSet phldrT="[Texto]"/>
      <dgm:spPr/>
      <dgm:t>
        <a:bodyPr/>
        <a:lstStyle/>
        <a:p>
          <a:r>
            <a:rPr lang="es-ES" dirty="0"/>
            <a:t>Diagnostico situacional: La Parroquia Pacto posee Fortalezas y debilidades para el desarrollo del turismo rural. </a:t>
          </a:r>
          <a:endParaRPr lang="es-EC" dirty="0"/>
        </a:p>
      </dgm:t>
    </dgm:pt>
    <dgm:pt modelId="{E1712C95-A58A-419E-93A8-5289223B0510}" type="parTrans" cxnId="{8E98379A-B3C2-410E-A267-786E5F7AFD32}">
      <dgm:prSet/>
      <dgm:spPr/>
      <dgm:t>
        <a:bodyPr/>
        <a:lstStyle/>
        <a:p>
          <a:endParaRPr lang="es-EC"/>
        </a:p>
      </dgm:t>
    </dgm:pt>
    <dgm:pt modelId="{DBD7204D-4CBA-4C9F-A5A1-566ABD99315D}" type="sibTrans" cxnId="{8E98379A-B3C2-410E-A267-786E5F7AFD32}">
      <dgm:prSet/>
      <dgm:spPr/>
      <dgm:t>
        <a:bodyPr/>
        <a:lstStyle/>
        <a:p>
          <a:endParaRPr lang="es-EC"/>
        </a:p>
      </dgm:t>
    </dgm:pt>
    <dgm:pt modelId="{0067877E-60FA-4500-A53C-B6D2EAF738E2}">
      <dgm:prSet phldrT="[Texto]"/>
      <dgm:spPr/>
      <dgm:t>
        <a:bodyPr/>
        <a:lstStyle/>
        <a:p>
          <a:r>
            <a:rPr lang="es-ES" dirty="0"/>
            <a:t>Resultados de entrevista y encuesta a la comunidad: Existe el apoyo e interés por parte de la comunidad y su representante para las actividades turísticas.   </a:t>
          </a:r>
          <a:endParaRPr lang="es-EC" dirty="0"/>
        </a:p>
      </dgm:t>
    </dgm:pt>
    <dgm:pt modelId="{7678143D-4216-44A6-96BC-368DE195625F}" type="parTrans" cxnId="{7122FCF1-8AF6-4D7A-914B-44CD67EC2649}">
      <dgm:prSet/>
      <dgm:spPr/>
      <dgm:t>
        <a:bodyPr/>
        <a:lstStyle/>
        <a:p>
          <a:endParaRPr lang="es-EC"/>
        </a:p>
      </dgm:t>
    </dgm:pt>
    <dgm:pt modelId="{A3DBB683-5578-43DF-84BE-AB94E7D6A3F5}" type="sibTrans" cxnId="{7122FCF1-8AF6-4D7A-914B-44CD67EC2649}">
      <dgm:prSet/>
      <dgm:spPr/>
      <dgm:t>
        <a:bodyPr/>
        <a:lstStyle/>
        <a:p>
          <a:endParaRPr lang="es-EC"/>
        </a:p>
      </dgm:t>
    </dgm:pt>
    <dgm:pt modelId="{6C10531E-F5FE-48FD-B1EA-BF6BF37988EF}">
      <dgm:prSet/>
      <dgm:spPr/>
      <dgm:t>
        <a:bodyPr/>
        <a:lstStyle/>
        <a:p>
          <a:r>
            <a:rPr lang="es-ES" dirty="0"/>
            <a:t>Perfil del visitante: Hombres y mujeres entre los 18 y 29 años de nacionalidad ecuatoriana, con estudios de pregrado. Viajan con la motivación de hacer turismo en espacios abiertos.</a:t>
          </a:r>
          <a:endParaRPr lang="es-EC" dirty="0"/>
        </a:p>
      </dgm:t>
    </dgm:pt>
    <dgm:pt modelId="{1A35F654-61B5-40D9-AE87-966F048C2C4A}" type="parTrans" cxnId="{63584240-4291-48D5-B3A9-D1AF83AE24CC}">
      <dgm:prSet/>
      <dgm:spPr/>
      <dgm:t>
        <a:bodyPr/>
        <a:lstStyle/>
        <a:p>
          <a:endParaRPr lang="es-EC"/>
        </a:p>
      </dgm:t>
    </dgm:pt>
    <dgm:pt modelId="{CFBF532C-AF97-4896-8429-ECF98A20CC0D}" type="sibTrans" cxnId="{63584240-4291-48D5-B3A9-D1AF83AE24CC}">
      <dgm:prSet/>
      <dgm:spPr/>
      <dgm:t>
        <a:bodyPr/>
        <a:lstStyle/>
        <a:p>
          <a:endParaRPr lang="es-EC"/>
        </a:p>
      </dgm:t>
    </dgm:pt>
    <dgm:pt modelId="{6C0B443A-EA1A-4085-BFC8-438E1C9DCDF5}">
      <dgm:prSet/>
      <dgm:spPr/>
      <dgm:t>
        <a:bodyPr/>
        <a:lstStyle/>
        <a:p>
          <a:r>
            <a:rPr lang="es-ES" dirty="0"/>
            <a:t>Propuestas estratégicas  como una ruta turística, plan de marketing, capacitación a prestadores y publicidad exterior para  consolidar al turismo rural con un elemento de dinamización para el desarrollo local de la parroquia. </a:t>
          </a:r>
          <a:endParaRPr lang="es-EC" dirty="0"/>
        </a:p>
      </dgm:t>
    </dgm:pt>
    <dgm:pt modelId="{5CBFB520-9CA4-477A-8716-3A81A2132144}" type="parTrans" cxnId="{11F44519-B4B9-4BD6-9E65-F71BB086B925}">
      <dgm:prSet/>
      <dgm:spPr/>
      <dgm:t>
        <a:bodyPr/>
        <a:lstStyle/>
        <a:p>
          <a:endParaRPr lang="es-EC"/>
        </a:p>
      </dgm:t>
    </dgm:pt>
    <dgm:pt modelId="{4E55AF4F-9EAA-4FBC-8033-306F6430B4B1}" type="sibTrans" cxnId="{11F44519-B4B9-4BD6-9E65-F71BB086B925}">
      <dgm:prSet/>
      <dgm:spPr/>
      <dgm:t>
        <a:bodyPr/>
        <a:lstStyle/>
        <a:p>
          <a:endParaRPr lang="es-EC"/>
        </a:p>
      </dgm:t>
    </dgm:pt>
    <dgm:pt modelId="{0F70EA03-B1D9-4477-B6B2-2433533C2802}" type="pres">
      <dgm:prSet presAssocID="{69DB5D36-676D-4142-8D80-63834E16205F}" presName="Name0" presStyleCnt="0">
        <dgm:presLayoutVars>
          <dgm:chMax val="7"/>
          <dgm:chPref val="7"/>
          <dgm:dir/>
        </dgm:presLayoutVars>
      </dgm:prSet>
      <dgm:spPr/>
    </dgm:pt>
    <dgm:pt modelId="{C631EDD5-F4D6-4D53-A46D-66A34B9DC21C}" type="pres">
      <dgm:prSet presAssocID="{69DB5D36-676D-4142-8D80-63834E16205F}" presName="Name1" presStyleCnt="0"/>
      <dgm:spPr/>
    </dgm:pt>
    <dgm:pt modelId="{A759140C-44A3-4DF2-9AE3-D11F7C702F23}" type="pres">
      <dgm:prSet presAssocID="{69DB5D36-676D-4142-8D80-63834E16205F}" presName="cycle" presStyleCnt="0"/>
      <dgm:spPr/>
    </dgm:pt>
    <dgm:pt modelId="{8D663575-1B70-42FC-8368-73608C5B9BC4}" type="pres">
      <dgm:prSet presAssocID="{69DB5D36-676D-4142-8D80-63834E16205F}" presName="srcNode" presStyleLbl="node1" presStyleIdx="0" presStyleCnt="5"/>
      <dgm:spPr/>
    </dgm:pt>
    <dgm:pt modelId="{14C40360-1FBA-447E-977D-03BE95F2C6FF}" type="pres">
      <dgm:prSet presAssocID="{69DB5D36-676D-4142-8D80-63834E16205F}" presName="conn" presStyleLbl="parChTrans1D2" presStyleIdx="0" presStyleCnt="1"/>
      <dgm:spPr/>
    </dgm:pt>
    <dgm:pt modelId="{4C813AA1-5D8E-4B02-A731-EE5BB2F7EE40}" type="pres">
      <dgm:prSet presAssocID="{69DB5D36-676D-4142-8D80-63834E16205F}" presName="extraNode" presStyleLbl="node1" presStyleIdx="0" presStyleCnt="5"/>
      <dgm:spPr/>
    </dgm:pt>
    <dgm:pt modelId="{BE8886CB-55E8-439D-99AC-07E6D19F2799}" type="pres">
      <dgm:prSet presAssocID="{69DB5D36-676D-4142-8D80-63834E16205F}" presName="dstNode" presStyleLbl="node1" presStyleIdx="0" presStyleCnt="5"/>
      <dgm:spPr/>
    </dgm:pt>
    <dgm:pt modelId="{1F681C11-666A-4BFA-86E3-418B79B9B7C7}" type="pres">
      <dgm:prSet presAssocID="{B12A17E3-8B30-4772-A202-D543186CABD4}" presName="text_1" presStyleLbl="node1" presStyleIdx="0" presStyleCnt="5">
        <dgm:presLayoutVars>
          <dgm:bulletEnabled val="1"/>
        </dgm:presLayoutVars>
      </dgm:prSet>
      <dgm:spPr/>
    </dgm:pt>
    <dgm:pt modelId="{1B670A3B-6060-47D8-A29E-BEE7140CC503}" type="pres">
      <dgm:prSet presAssocID="{B12A17E3-8B30-4772-A202-D543186CABD4}" presName="accent_1" presStyleCnt="0"/>
      <dgm:spPr/>
    </dgm:pt>
    <dgm:pt modelId="{EF546BB7-4EF9-4C86-B0AF-36C510F00607}" type="pres">
      <dgm:prSet presAssocID="{B12A17E3-8B30-4772-A202-D543186CABD4}" presName="accentRepeatNode" presStyleLbl="solidFgAcc1" presStyleIdx="0" presStyleCnt="5"/>
      <dgm:spPr/>
    </dgm:pt>
    <dgm:pt modelId="{9E040533-359E-4D3D-A46A-BDE6C4CFE3D4}" type="pres">
      <dgm:prSet presAssocID="{7B40EBEB-6AA4-4CAF-B2A2-0E14D4E5CE9E}" presName="text_2" presStyleLbl="node1" presStyleIdx="1" presStyleCnt="5">
        <dgm:presLayoutVars>
          <dgm:bulletEnabled val="1"/>
        </dgm:presLayoutVars>
      </dgm:prSet>
      <dgm:spPr/>
    </dgm:pt>
    <dgm:pt modelId="{A4176339-80A0-4A97-8805-0981AD6807BE}" type="pres">
      <dgm:prSet presAssocID="{7B40EBEB-6AA4-4CAF-B2A2-0E14D4E5CE9E}" presName="accent_2" presStyleCnt="0"/>
      <dgm:spPr/>
    </dgm:pt>
    <dgm:pt modelId="{AB7B8155-7828-4310-9770-C7F932AC22F3}" type="pres">
      <dgm:prSet presAssocID="{7B40EBEB-6AA4-4CAF-B2A2-0E14D4E5CE9E}" presName="accentRepeatNode" presStyleLbl="solidFgAcc1" presStyleIdx="1" presStyleCnt="5"/>
      <dgm:spPr/>
    </dgm:pt>
    <dgm:pt modelId="{35512766-E82D-452F-998E-5BD4ACC88C82}" type="pres">
      <dgm:prSet presAssocID="{0067877E-60FA-4500-A53C-B6D2EAF738E2}" presName="text_3" presStyleLbl="node1" presStyleIdx="2" presStyleCnt="5">
        <dgm:presLayoutVars>
          <dgm:bulletEnabled val="1"/>
        </dgm:presLayoutVars>
      </dgm:prSet>
      <dgm:spPr/>
    </dgm:pt>
    <dgm:pt modelId="{3CEBD569-3777-47C4-82F1-1AB9DC80D324}" type="pres">
      <dgm:prSet presAssocID="{0067877E-60FA-4500-A53C-B6D2EAF738E2}" presName="accent_3" presStyleCnt="0"/>
      <dgm:spPr/>
    </dgm:pt>
    <dgm:pt modelId="{5E8A15BE-10EC-4B9E-BEE7-AFFCF79C345B}" type="pres">
      <dgm:prSet presAssocID="{0067877E-60FA-4500-A53C-B6D2EAF738E2}" presName="accentRepeatNode" presStyleLbl="solidFgAcc1" presStyleIdx="2" presStyleCnt="5"/>
      <dgm:spPr/>
    </dgm:pt>
    <dgm:pt modelId="{03D85AB1-4BE2-4C95-84F2-A004E631F6DA}" type="pres">
      <dgm:prSet presAssocID="{6C10531E-F5FE-48FD-B1EA-BF6BF37988EF}" presName="text_4" presStyleLbl="node1" presStyleIdx="3" presStyleCnt="5">
        <dgm:presLayoutVars>
          <dgm:bulletEnabled val="1"/>
        </dgm:presLayoutVars>
      </dgm:prSet>
      <dgm:spPr/>
    </dgm:pt>
    <dgm:pt modelId="{7709FC38-152F-4F67-B7FF-1DDA61368C9F}" type="pres">
      <dgm:prSet presAssocID="{6C10531E-F5FE-48FD-B1EA-BF6BF37988EF}" presName="accent_4" presStyleCnt="0"/>
      <dgm:spPr/>
    </dgm:pt>
    <dgm:pt modelId="{EC160F4C-67A8-476F-AA27-CD4B15BA3B37}" type="pres">
      <dgm:prSet presAssocID="{6C10531E-F5FE-48FD-B1EA-BF6BF37988EF}" presName="accentRepeatNode" presStyleLbl="solidFgAcc1" presStyleIdx="3" presStyleCnt="5"/>
      <dgm:spPr/>
    </dgm:pt>
    <dgm:pt modelId="{DA9D640E-21BA-4FCF-B690-E7C154F2CC55}" type="pres">
      <dgm:prSet presAssocID="{6C0B443A-EA1A-4085-BFC8-438E1C9DCDF5}" presName="text_5" presStyleLbl="node1" presStyleIdx="4" presStyleCnt="5">
        <dgm:presLayoutVars>
          <dgm:bulletEnabled val="1"/>
        </dgm:presLayoutVars>
      </dgm:prSet>
      <dgm:spPr/>
    </dgm:pt>
    <dgm:pt modelId="{8C46BEA1-0CA0-448B-A9A0-C140DECDA250}" type="pres">
      <dgm:prSet presAssocID="{6C0B443A-EA1A-4085-BFC8-438E1C9DCDF5}" presName="accent_5" presStyleCnt="0"/>
      <dgm:spPr/>
    </dgm:pt>
    <dgm:pt modelId="{45B800AD-F155-4ADE-8396-B02C1DBF336A}" type="pres">
      <dgm:prSet presAssocID="{6C0B443A-EA1A-4085-BFC8-438E1C9DCDF5}" presName="accentRepeatNode" presStyleLbl="solidFgAcc1" presStyleIdx="4" presStyleCnt="5"/>
      <dgm:spPr/>
    </dgm:pt>
  </dgm:ptLst>
  <dgm:cxnLst>
    <dgm:cxn modelId="{11F44519-B4B9-4BD6-9E65-F71BB086B925}" srcId="{69DB5D36-676D-4142-8D80-63834E16205F}" destId="{6C0B443A-EA1A-4085-BFC8-438E1C9DCDF5}" srcOrd="4" destOrd="0" parTransId="{5CBFB520-9CA4-477A-8716-3A81A2132144}" sibTransId="{4E55AF4F-9EAA-4FBC-8033-306F6430B4B1}"/>
    <dgm:cxn modelId="{F800B41A-F435-4959-A5E0-25F6BC98137E}" type="presOf" srcId="{B435707D-A9C7-470E-A0C9-D537CA9E45D0}" destId="{14C40360-1FBA-447E-977D-03BE95F2C6FF}" srcOrd="0" destOrd="0" presId="urn:microsoft.com/office/officeart/2008/layout/VerticalCurvedList"/>
    <dgm:cxn modelId="{DCB16F3B-73E4-49C7-9075-5BF20E8DD1DD}" type="presOf" srcId="{69DB5D36-676D-4142-8D80-63834E16205F}" destId="{0F70EA03-B1D9-4477-B6B2-2433533C2802}" srcOrd="0" destOrd="0" presId="urn:microsoft.com/office/officeart/2008/layout/VerticalCurvedList"/>
    <dgm:cxn modelId="{63584240-4291-48D5-B3A9-D1AF83AE24CC}" srcId="{69DB5D36-676D-4142-8D80-63834E16205F}" destId="{6C10531E-F5FE-48FD-B1EA-BF6BF37988EF}" srcOrd="3" destOrd="0" parTransId="{1A35F654-61B5-40D9-AE87-966F048C2C4A}" sibTransId="{CFBF532C-AF97-4896-8429-ECF98A20CC0D}"/>
    <dgm:cxn modelId="{8E98379A-B3C2-410E-A267-786E5F7AFD32}" srcId="{69DB5D36-676D-4142-8D80-63834E16205F}" destId="{7B40EBEB-6AA4-4CAF-B2A2-0E14D4E5CE9E}" srcOrd="1" destOrd="0" parTransId="{E1712C95-A58A-419E-93A8-5289223B0510}" sibTransId="{DBD7204D-4CBA-4C9F-A5A1-566ABD99315D}"/>
    <dgm:cxn modelId="{B2F681A5-77A0-4C58-A027-FAE94DA82F95}" srcId="{69DB5D36-676D-4142-8D80-63834E16205F}" destId="{B12A17E3-8B30-4772-A202-D543186CABD4}" srcOrd="0" destOrd="0" parTransId="{E1E94CBC-6376-4110-B55B-0453A4F71F96}" sibTransId="{B435707D-A9C7-470E-A0C9-D537CA9E45D0}"/>
    <dgm:cxn modelId="{AF8744AB-D826-4828-8C72-BEBDE68B28BA}" type="presOf" srcId="{7B40EBEB-6AA4-4CAF-B2A2-0E14D4E5CE9E}" destId="{9E040533-359E-4D3D-A46A-BDE6C4CFE3D4}" srcOrd="0" destOrd="0" presId="urn:microsoft.com/office/officeart/2008/layout/VerticalCurvedList"/>
    <dgm:cxn modelId="{CD4058AE-94AB-4CFF-863C-78A6AFD2F607}" type="presOf" srcId="{6C0B443A-EA1A-4085-BFC8-438E1C9DCDF5}" destId="{DA9D640E-21BA-4FCF-B690-E7C154F2CC55}" srcOrd="0" destOrd="0" presId="urn:microsoft.com/office/officeart/2008/layout/VerticalCurvedList"/>
    <dgm:cxn modelId="{23D630B5-9C7C-4CC0-AAA2-47FE73772255}" type="presOf" srcId="{6C10531E-F5FE-48FD-B1EA-BF6BF37988EF}" destId="{03D85AB1-4BE2-4C95-84F2-A004E631F6DA}" srcOrd="0" destOrd="0" presId="urn:microsoft.com/office/officeart/2008/layout/VerticalCurvedList"/>
    <dgm:cxn modelId="{04E1CBD9-4627-4B89-9EE6-FF56B1AD936B}" type="presOf" srcId="{B12A17E3-8B30-4772-A202-D543186CABD4}" destId="{1F681C11-666A-4BFA-86E3-418B79B9B7C7}" srcOrd="0" destOrd="0" presId="urn:microsoft.com/office/officeart/2008/layout/VerticalCurvedList"/>
    <dgm:cxn modelId="{7A3256F1-2216-4FBA-87D0-9878186D9179}" type="presOf" srcId="{0067877E-60FA-4500-A53C-B6D2EAF738E2}" destId="{35512766-E82D-452F-998E-5BD4ACC88C82}" srcOrd="0" destOrd="0" presId="urn:microsoft.com/office/officeart/2008/layout/VerticalCurvedList"/>
    <dgm:cxn modelId="{7122FCF1-8AF6-4D7A-914B-44CD67EC2649}" srcId="{69DB5D36-676D-4142-8D80-63834E16205F}" destId="{0067877E-60FA-4500-A53C-B6D2EAF738E2}" srcOrd="2" destOrd="0" parTransId="{7678143D-4216-44A6-96BC-368DE195625F}" sibTransId="{A3DBB683-5578-43DF-84BE-AB94E7D6A3F5}"/>
    <dgm:cxn modelId="{15D175D2-572F-4910-A113-9F075259C3B7}" type="presParOf" srcId="{0F70EA03-B1D9-4477-B6B2-2433533C2802}" destId="{C631EDD5-F4D6-4D53-A46D-66A34B9DC21C}" srcOrd="0" destOrd="0" presId="urn:microsoft.com/office/officeart/2008/layout/VerticalCurvedList"/>
    <dgm:cxn modelId="{407EA3A0-7AB8-48BE-AE9D-DCD97549BF09}" type="presParOf" srcId="{C631EDD5-F4D6-4D53-A46D-66A34B9DC21C}" destId="{A759140C-44A3-4DF2-9AE3-D11F7C702F23}" srcOrd="0" destOrd="0" presId="urn:microsoft.com/office/officeart/2008/layout/VerticalCurvedList"/>
    <dgm:cxn modelId="{1865D01D-BB4F-4FBF-9983-2A0D3BE7E3FD}" type="presParOf" srcId="{A759140C-44A3-4DF2-9AE3-D11F7C702F23}" destId="{8D663575-1B70-42FC-8368-73608C5B9BC4}" srcOrd="0" destOrd="0" presId="urn:microsoft.com/office/officeart/2008/layout/VerticalCurvedList"/>
    <dgm:cxn modelId="{4F4908A4-D776-4D19-B9D6-13F726DB710E}" type="presParOf" srcId="{A759140C-44A3-4DF2-9AE3-D11F7C702F23}" destId="{14C40360-1FBA-447E-977D-03BE95F2C6FF}" srcOrd="1" destOrd="0" presId="urn:microsoft.com/office/officeart/2008/layout/VerticalCurvedList"/>
    <dgm:cxn modelId="{3EF7B7EB-85FB-4CAD-9903-5E1B9815D466}" type="presParOf" srcId="{A759140C-44A3-4DF2-9AE3-D11F7C702F23}" destId="{4C813AA1-5D8E-4B02-A731-EE5BB2F7EE40}" srcOrd="2" destOrd="0" presId="urn:microsoft.com/office/officeart/2008/layout/VerticalCurvedList"/>
    <dgm:cxn modelId="{60104081-9FA9-45FB-BBF5-BB21EED522A3}" type="presParOf" srcId="{A759140C-44A3-4DF2-9AE3-D11F7C702F23}" destId="{BE8886CB-55E8-439D-99AC-07E6D19F2799}" srcOrd="3" destOrd="0" presId="urn:microsoft.com/office/officeart/2008/layout/VerticalCurvedList"/>
    <dgm:cxn modelId="{A07A4183-92CD-4506-8FD4-10C94FA5BECF}" type="presParOf" srcId="{C631EDD5-F4D6-4D53-A46D-66A34B9DC21C}" destId="{1F681C11-666A-4BFA-86E3-418B79B9B7C7}" srcOrd="1" destOrd="0" presId="urn:microsoft.com/office/officeart/2008/layout/VerticalCurvedList"/>
    <dgm:cxn modelId="{4059AECC-3370-4EEA-8050-BA0A5F4AB4F4}" type="presParOf" srcId="{C631EDD5-F4D6-4D53-A46D-66A34B9DC21C}" destId="{1B670A3B-6060-47D8-A29E-BEE7140CC503}" srcOrd="2" destOrd="0" presId="urn:microsoft.com/office/officeart/2008/layout/VerticalCurvedList"/>
    <dgm:cxn modelId="{19E0C458-F98C-40B5-8C50-B0CE987C4D9C}" type="presParOf" srcId="{1B670A3B-6060-47D8-A29E-BEE7140CC503}" destId="{EF546BB7-4EF9-4C86-B0AF-36C510F00607}" srcOrd="0" destOrd="0" presId="urn:microsoft.com/office/officeart/2008/layout/VerticalCurvedList"/>
    <dgm:cxn modelId="{57E4C16D-4F76-44DB-8348-5B59D18E70B9}" type="presParOf" srcId="{C631EDD5-F4D6-4D53-A46D-66A34B9DC21C}" destId="{9E040533-359E-4D3D-A46A-BDE6C4CFE3D4}" srcOrd="3" destOrd="0" presId="urn:microsoft.com/office/officeart/2008/layout/VerticalCurvedList"/>
    <dgm:cxn modelId="{98DEEDBC-9677-48A5-8269-42E43B98D410}" type="presParOf" srcId="{C631EDD5-F4D6-4D53-A46D-66A34B9DC21C}" destId="{A4176339-80A0-4A97-8805-0981AD6807BE}" srcOrd="4" destOrd="0" presId="urn:microsoft.com/office/officeart/2008/layout/VerticalCurvedList"/>
    <dgm:cxn modelId="{D46E79FA-09EF-4842-A959-C0AD9C4B55BC}" type="presParOf" srcId="{A4176339-80A0-4A97-8805-0981AD6807BE}" destId="{AB7B8155-7828-4310-9770-C7F932AC22F3}" srcOrd="0" destOrd="0" presId="urn:microsoft.com/office/officeart/2008/layout/VerticalCurvedList"/>
    <dgm:cxn modelId="{C6E50C8D-27EE-4FC6-87D1-EFAA53983551}" type="presParOf" srcId="{C631EDD5-F4D6-4D53-A46D-66A34B9DC21C}" destId="{35512766-E82D-452F-998E-5BD4ACC88C82}" srcOrd="5" destOrd="0" presId="urn:microsoft.com/office/officeart/2008/layout/VerticalCurvedList"/>
    <dgm:cxn modelId="{6A7A825C-64D3-4BD3-9DA0-4D8D63741ECD}" type="presParOf" srcId="{C631EDD5-F4D6-4D53-A46D-66A34B9DC21C}" destId="{3CEBD569-3777-47C4-82F1-1AB9DC80D324}" srcOrd="6" destOrd="0" presId="urn:microsoft.com/office/officeart/2008/layout/VerticalCurvedList"/>
    <dgm:cxn modelId="{85407A30-A19B-4E76-BBC3-B73E8C6C5DFB}" type="presParOf" srcId="{3CEBD569-3777-47C4-82F1-1AB9DC80D324}" destId="{5E8A15BE-10EC-4B9E-BEE7-AFFCF79C345B}" srcOrd="0" destOrd="0" presId="urn:microsoft.com/office/officeart/2008/layout/VerticalCurvedList"/>
    <dgm:cxn modelId="{4D88A4F4-7101-49FD-A008-26431E69297F}" type="presParOf" srcId="{C631EDD5-F4D6-4D53-A46D-66A34B9DC21C}" destId="{03D85AB1-4BE2-4C95-84F2-A004E631F6DA}" srcOrd="7" destOrd="0" presId="urn:microsoft.com/office/officeart/2008/layout/VerticalCurvedList"/>
    <dgm:cxn modelId="{A5F1C804-3CFB-4FAA-AABA-A9F21A89A35B}" type="presParOf" srcId="{C631EDD5-F4D6-4D53-A46D-66A34B9DC21C}" destId="{7709FC38-152F-4F67-B7FF-1DDA61368C9F}" srcOrd="8" destOrd="0" presId="urn:microsoft.com/office/officeart/2008/layout/VerticalCurvedList"/>
    <dgm:cxn modelId="{00B9B60E-90A1-48A5-9FA0-4A9359CBC23F}" type="presParOf" srcId="{7709FC38-152F-4F67-B7FF-1DDA61368C9F}" destId="{EC160F4C-67A8-476F-AA27-CD4B15BA3B37}" srcOrd="0" destOrd="0" presId="urn:microsoft.com/office/officeart/2008/layout/VerticalCurvedList"/>
    <dgm:cxn modelId="{B78DF568-F486-4030-B42B-A2DEEAC268E6}" type="presParOf" srcId="{C631EDD5-F4D6-4D53-A46D-66A34B9DC21C}" destId="{DA9D640E-21BA-4FCF-B690-E7C154F2CC55}" srcOrd="9" destOrd="0" presId="urn:microsoft.com/office/officeart/2008/layout/VerticalCurvedList"/>
    <dgm:cxn modelId="{6A6E374D-C2A6-4443-8F0E-7B649790D9A1}" type="presParOf" srcId="{C631EDD5-F4D6-4D53-A46D-66A34B9DC21C}" destId="{8C46BEA1-0CA0-448B-A9A0-C140DECDA250}" srcOrd="10" destOrd="0" presId="urn:microsoft.com/office/officeart/2008/layout/VerticalCurvedList"/>
    <dgm:cxn modelId="{EA022117-5E8E-4CA3-9FF9-EB7C72C2EF9F}" type="presParOf" srcId="{8C46BEA1-0CA0-448B-A9A0-C140DECDA250}" destId="{45B800AD-F155-4ADE-8396-B02C1DBF336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69DB5D36-676D-4142-8D80-63834E16205F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B12A17E3-8B30-4772-A202-D543186CABD4}">
      <dgm:prSet phldrT="[Texto]"/>
      <dgm:spPr/>
      <dgm:t>
        <a:bodyPr/>
        <a:lstStyle/>
        <a:p>
          <a:r>
            <a:rPr lang="es-ES" dirty="0"/>
            <a:t>Planificación y gestión turística  a cargo de profesionales en el área. </a:t>
          </a:r>
          <a:endParaRPr lang="es-EC" dirty="0"/>
        </a:p>
      </dgm:t>
    </dgm:pt>
    <dgm:pt modelId="{E1E94CBC-6376-4110-B55B-0453A4F71F96}" type="parTrans" cxnId="{B2F681A5-77A0-4C58-A027-FAE94DA82F95}">
      <dgm:prSet/>
      <dgm:spPr/>
      <dgm:t>
        <a:bodyPr/>
        <a:lstStyle/>
        <a:p>
          <a:endParaRPr lang="es-EC"/>
        </a:p>
      </dgm:t>
    </dgm:pt>
    <dgm:pt modelId="{B435707D-A9C7-470E-A0C9-D537CA9E45D0}" type="sibTrans" cxnId="{B2F681A5-77A0-4C58-A027-FAE94DA82F95}">
      <dgm:prSet/>
      <dgm:spPr/>
      <dgm:t>
        <a:bodyPr/>
        <a:lstStyle/>
        <a:p>
          <a:endParaRPr lang="es-EC"/>
        </a:p>
      </dgm:t>
    </dgm:pt>
    <dgm:pt modelId="{7B40EBEB-6AA4-4CAF-B2A2-0E14D4E5CE9E}">
      <dgm:prSet phldrT="[Texto]"/>
      <dgm:spPr/>
      <dgm:t>
        <a:bodyPr/>
        <a:lstStyle/>
        <a:p>
          <a:r>
            <a:rPr lang="es-ES" dirty="0"/>
            <a:t>Apoyo de instituciones académicas, gubernamentales y no gubernamentales para contrarrestar </a:t>
          </a:r>
          <a:r>
            <a:rPr lang="es-ES" dirty="0" err="1"/>
            <a:t>deilidades</a:t>
          </a:r>
          <a:r>
            <a:rPr lang="es-ES" dirty="0"/>
            <a:t>. </a:t>
          </a:r>
          <a:endParaRPr lang="es-EC" dirty="0"/>
        </a:p>
      </dgm:t>
    </dgm:pt>
    <dgm:pt modelId="{E1712C95-A58A-419E-93A8-5289223B0510}" type="parTrans" cxnId="{8E98379A-B3C2-410E-A267-786E5F7AFD32}">
      <dgm:prSet/>
      <dgm:spPr/>
      <dgm:t>
        <a:bodyPr/>
        <a:lstStyle/>
        <a:p>
          <a:endParaRPr lang="es-EC"/>
        </a:p>
      </dgm:t>
    </dgm:pt>
    <dgm:pt modelId="{DBD7204D-4CBA-4C9F-A5A1-566ABD99315D}" type="sibTrans" cxnId="{8E98379A-B3C2-410E-A267-786E5F7AFD32}">
      <dgm:prSet/>
      <dgm:spPr/>
      <dgm:t>
        <a:bodyPr/>
        <a:lstStyle/>
        <a:p>
          <a:endParaRPr lang="es-EC"/>
        </a:p>
      </dgm:t>
    </dgm:pt>
    <dgm:pt modelId="{0067877E-60FA-4500-A53C-B6D2EAF738E2}">
      <dgm:prSet phldrT="[Texto]"/>
      <dgm:spPr/>
      <dgm:t>
        <a:bodyPr/>
        <a:lstStyle/>
        <a:p>
          <a:r>
            <a:rPr lang="es-ES" dirty="0"/>
            <a:t>Priorizar proyectos turísticos dentro de la parroquia.</a:t>
          </a:r>
          <a:endParaRPr lang="es-EC" dirty="0"/>
        </a:p>
      </dgm:t>
    </dgm:pt>
    <dgm:pt modelId="{7678143D-4216-44A6-96BC-368DE195625F}" type="parTrans" cxnId="{7122FCF1-8AF6-4D7A-914B-44CD67EC2649}">
      <dgm:prSet/>
      <dgm:spPr/>
      <dgm:t>
        <a:bodyPr/>
        <a:lstStyle/>
        <a:p>
          <a:endParaRPr lang="es-EC"/>
        </a:p>
      </dgm:t>
    </dgm:pt>
    <dgm:pt modelId="{A3DBB683-5578-43DF-84BE-AB94E7D6A3F5}" type="sibTrans" cxnId="{7122FCF1-8AF6-4D7A-914B-44CD67EC2649}">
      <dgm:prSet/>
      <dgm:spPr/>
      <dgm:t>
        <a:bodyPr/>
        <a:lstStyle/>
        <a:p>
          <a:endParaRPr lang="es-EC"/>
        </a:p>
      </dgm:t>
    </dgm:pt>
    <dgm:pt modelId="{6C10531E-F5FE-48FD-B1EA-BF6BF37988EF}">
      <dgm:prSet/>
      <dgm:spPr/>
      <dgm:t>
        <a:bodyPr/>
        <a:lstStyle/>
        <a:p>
          <a:r>
            <a:rPr lang="es-ES" dirty="0"/>
            <a:t>Invertir  en </a:t>
          </a:r>
          <a:r>
            <a:rPr lang="es-EC" dirty="0"/>
            <a:t>el desarrollo de medios digitales oficiales de la parroquia y contenido publicitario de calidad que pueda ser difundido para llegar a públicos objetivos y potenciales</a:t>
          </a:r>
          <a:r>
            <a:rPr lang="es-ES" dirty="0"/>
            <a:t>.</a:t>
          </a:r>
          <a:endParaRPr lang="es-EC" dirty="0"/>
        </a:p>
      </dgm:t>
    </dgm:pt>
    <dgm:pt modelId="{1A35F654-61B5-40D9-AE87-966F048C2C4A}" type="parTrans" cxnId="{63584240-4291-48D5-B3A9-D1AF83AE24CC}">
      <dgm:prSet/>
      <dgm:spPr/>
      <dgm:t>
        <a:bodyPr/>
        <a:lstStyle/>
        <a:p>
          <a:endParaRPr lang="es-EC"/>
        </a:p>
      </dgm:t>
    </dgm:pt>
    <dgm:pt modelId="{CFBF532C-AF97-4896-8429-ECF98A20CC0D}" type="sibTrans" cxnId="{63584240-4291-48D5-B3A9-D1AF83AE24CC}">
      <dgm:prSet/>
      <dgm:spPr/>
      <dgm:t>
        <a:bodyPr/>
        <a:lstStyle/>
        <a:p>
          <a:endParaRPr lang="es-EC"/>
        </a:p>
      </dgm:t>
    </dgm:pt>
    <dgm:pt modelId="{6C0B443A-EA1A-4085-BFC8-438E1C9DCDF5}">
      <dgm:prSet/>
      <dgm:spPr/>
      <dgm:t>
        <a:bodyPr/>
        <a:lstStyle/>
        <a:p>
          <a:r>
            <a:rPr lang="es-EC" dirty="0"/>
            <a:t>Es recomendable que las estrategias propuestas en el presente trabajo sean desarrolladas de forma continua, ya que permitiría el aprovechamiento del potencial turístico de la parroquia Pacto </a:t>
          </a:r>
        </a:p>
      </dgm:t>
    </dgm:pt>
    <dgm:pt modelId="{5CBFB520-9CA4-477A-8716-3A81A2132144}" type="parTrans" cxnId="{11F44519-B4B9-4BD6-9E65-F71BB086B925}">
      <dgm:prSet/>
      <dgm:spPr/>
      <dgm:t>
        <a:bodyPr/>
        <a:lstStyle/>
        <a:p>
          <a:endParaRPr lang="es-EC"/>
        </a:p>
      </dgm:t>
    </dgm:pt>
    <dgm:pt modelId="{4E55AF4F-9EAA-4FBC-8033-306F6430B4B1}" type="sibTrans" cxnId="{11F44519-B4B9-4BD6-9E65-F71BB086B925}">
      <dgm:prSet/>
      <dgm:spPr/>
      <dgm:t>
        <a:bodyPr/>
        <a:lstStyle/>
        <a:p>
          <a:endParaRPr lang="es-EC"/>
        </a:p>
      </dgm:t>
    </dgm:pt>
    <dgm:pt modelId="{0F70EA03-B1D9-4477-B6B2-2433533C2802}" type="pres">
      <dgm:prSet presAssocID="{69DB5D36-676D-4142-8D80-63834E16205F}" presName="Name0" presStyleCnt="0">
        <dgm:presLayoutVars>
          <dgm:chMax val="7"/>
          <dgm:chPref val="7"/>
          <dgm:dir/>
        </dgm:presLayoutVars>
      </dgm:prSet>
      <dgm:spPr/>
    </dgm:pt>
    <dgm:pt modelId="{C631EDD5-F4D6-4D53-A46D-66A34B9DC21C}" type="pres">
      <dgm:prSet presAssocID="{69DB5D36-676D-4142-8D80-63834E16205F}" presName="Name1" presStyleCnt="0"/>
      <dgm:spPr/>
    </dgm:pt>
    <dgm:pt modelId="{A759140C-44A3-4DF2-9AE3-D11F7C702F23}" type="pres">
      <dgm:prSet presAssocID="{69DB5D36-676D-4142-8D80-63834E16205F}" presName="cycle" presStyleCnt="0"/>
      <dgm:spPr/>
    </dgm:pt>
    <dgm:pt modelId="{8D663575-1B70-42FC-8368-73608C5B9BC4}" type="pres">
      <dgm:prSet presAssocID="{69DB5D36-676D-4142-8D80-63834E16205F}" presName="srcNode" presStyleLbl="node1" presStyleIdx="0" presStyleCnt="5"/>
      <dgm:spPr/>
    </dgm:pt>
    <dgm:pt modelId="{14C40360-1FBA-447E-977D-03BE95F2C6FF}" type="pres">
      <dgm:prSet presAssocID="{69DB5D36-676D-4142-8D80-63834E16205F}" presName="conn" presStyleLbl="parChTrans1D2" presStyleIdx="0" presStyleCnt="1"/>
      <dgm:spPr/>
    </dgm:pt>
    <dgm:pt modelId="{4C813AA1-5D8E-4B02-A731-EE5BB2F7EE40}" type="pres">
      <dgm:prSet presAssocID="{69DB5D36-676D-4142-8D80-63834E16205F}" presName="extraNode" presStyleLbl="node1" presStyleIdx="0" presStyleCnt="5"/>
      <dgm:spPr/>
    </dgm:pt>
    <dgm:pt modelId="{BE8886CB-55E8-439D-99AC-07E6D19F2799}" type="pres">
      <dgm:prSet presAssocID="{69DB5D36-676D-4142-8D80-63834E16205F}" presName="dstNode" presStyleLbl="node1" presStyleIdx="0" presStyleCnt="5"/>
      <dgm:spPr/>
    </dgm:pt>
    <dgm:pt modelId="{1F681C11-666A-4BFA-86E3-418B79B9B7C7}" type="pres">
      <dgm:prSet presAssocID="{B12A17E3-8B30-4772-A202-D543186CABD4}" presName="text_1" presStyleLbl="node1" presStyleIdx="0" presStyleCnt="5">
        <dgm:presLayoutVars>
          <dgm:bulletEnabled val="1"/>
        </dgm:presLayoutVars>
      </dgm:prSet>
      <dgm:spPr/>
    </dgm:pt>
    <dgm:pt modelId="{1B670A3B-6060-47D8-A29E-BEE7140CC503}" type="pres">
      <dgm:prSet presAssocID="{B12A17E3-8B30-4772-A202-D543186CABD4}" presName="accent_1" presStyleCnt="0"/>
      <dgm:spPr/>
    </dgm:pt>
    <dgm:pt modelId="{EF546BB7-4EF9-4C86-B0AF-36C510F00607}" type="pres">
      <dgm:prSet presAssocID="{B12A17E3-8B30-4772-A202-D543186CABD4}" presName="accentRepeatNode" presStyleLbl="solidFgAcc1" presStyleIdx="0" presStyleCnt="5"/>
      <dgm:spPr/>
    </dgm:pt>
    <dgm:pt modelId="{9E040533-359E-4D3D-A46A-BDE6C4CFE3D4}" type="pres">
      <dgm:prSet presAssocID="{7B40EBEB-6AA4-4CAF-B2A2-0E14D4E5CE9E}" presName="text_2" presStyleLbl="node1" presStyleIdx="1" presStyleCnt="5">
        <dgm:presLayoutVars>
          <dgm:bulletEnabled val="1"/>
        </dgm:presLayoutVars>
      </dgm:prSet>
      <dgm:spPr/>
    </dgm:pt>
    <dgm:pt modelId="{A4176339-80A0-4A97-8805-0981AD6807BE}" type="pres">
      <dgm:prSet presAssocID="{7B40EBEB-6AA4-4CAF-B2A2-0E14D4E5CE9E}" presName="accent_2" presStyleCnt="0"/>
      <dgm:spPr/>
    </dgm:pt>
    <dgm:pt modelId="{AB7B8155-7828-4310-9770-C7F932AC22F3}" type="pres">
      <dgm:prSet presAssocID="{7B40EBEB-6AA4-4CAF-B2A2-0E14D4E5CE9E}" presName="accentRepeatNode" presStyleLbl="solidFgAcc1" presStyleIdx="1" presStyleCnt="5"/>
      <dgm:spPr/>
    </dgm:pt>
    <dgm:pt modelId="{35512766-E82D-452F-998E-5BD4ACC88C82}" type="pres">
      <dgm:prSet presAssocID="{0067877E-60FA-4500-A53C-B6D2EAF738E2}" presName="text_3" presStyleLbl="node1" presStyleIdx="2" presStyleCnt="5">
        <dgm:presLayoutVars>
          <dgm:bulletEnabled val="1"/>
        </dgm:presLayoutVars>
      </dgm:prSet>
      <dgm:spPr/>
    </dgm:pt>
    <dgm:pt modelId="{3CEBD569-3777-47C4-82F1-1AB9DC80D324}" type="pres">
      <dgm:prSet presAssocID="{0067877E-60FA-4500-A53C-B6D2EAF738E2}" presName="accent_3" presStyleCnt="0"/>
      <dgm:spPr/>
    </dgm:pt>
    <dgm:pt modelId="{5E8A15BE-10EC-4B9E-BEE7-AFFCF79C345B}" type="pres">
      <dgm:prSet presAssocID="{0067877E-60FA-4500-A53C-B6D2EAF738E2}" presName="accentRepeatNode" presStyleLbl="solidFgAcc1" presStyleIdx="2" presStyleCnt="5"/>
      <dgm:spPr/>
    </dgm:pt>
    <dgm:pt modelId="{03D85AB1-4BE2-4C95-84F2-A004E631F6DA}" type="pres">
      <dgm:prSet presAssocID="{6C10531E-F5FE-48FD-B1EA-BF6BF37988EF}" presName="text_4" presStyleLbl="node1" presStyleIdx="3" presStyleCnt="5">
        <dgm:presLayoutVars>
          <dgm:bulletEnabled val="1"/>
        </dgm:presLayoutVars>
      </dgm:prSet>
      <dgm:spPr/>
    </dgm:pt>
    <dgm:pt modelId="{7709FC38-152F-4F67-B7FF-1DDA61368C9F}" type="pres">
      <dgm:prSet presAssocID="{6C10531E-F5FE-48FD-B1EA-BF6BF37988EF}" presName="accent_4" presStyleCnt="0"/>
      <dgm:spPr/>
    </dgm:pt>
    <dgm:pt modelId="{EC160F4C-67A8-476F-AA27-CD4B15BA3B37}" type="pres">
      <dgm:prSet presAssocID="{6C10531E-F5FE-48FD-B1EA-BF6BF37988EF}" presName="accentRepeatNode" presStyleLbl="solidFgAcc1" presStyleIdx="3" presStyleCnt="5"/>
      <dgm:spPr/>
    </dgm:pt>
    <dgm:pt modelId="{DA9D640E-21BA-4FCF-B690-E7C154F2CC55}" type="pres">
      <dgm:prSet presAssocID="{6C0B443A-EA1A-4085-BFC8-438E1C9DCDF5}" presName="text_5" presStyleLbl="node1" presStyleIdx="4" presStyleCnt="5">
        <dgm:presLayoutVars>
          <dgm:bulletEnabled val="1"/>
        </dgm:presLayoutVars>
      </dgm:prSet>
      <dgm:spPr/>
    </dgm:pt>
    <dgm:pt modelId="{8C46BEA1-0CA0-448B-A9A0-C140DECDA250}" type="pres">
      <dgm:prSet presAssocID="{6C0B443A-EA1A-4085-BFC8-438E1C9DCDF5}" presName="accent_5" presStyleCnt="0"/>
      <dgm:spPr/>
    </dgm:pt>
    <dgm:pt modelId="{45B800AD-F155-4ADE-8396-B02C1DBF336A}" type="pres">
      <dgm:prSet presAssocID="{6C0B443A-EA1A-4085-BFC8-438E1C9DCDF5}" presName="accentRepeatNode" presStyleLbl="solidFgAcc1" presStyleIdx="4" presStyleCnt="5"/>
      <dgm:spPr/>
    </dgm:pt>
  </dgm:ptLst>
  <dgm:cxnLst>
    <dgm:cxn modelId="{11F44519-B4B9-4BD6-9E65-F71BB086B925}" srcId="{69DB5D36-676D-4142-8D80-63834E16205F}" destId="{6C0B443A-EA1A-4085-BFC8-438E1C9DCDF5}" srcOrd="4" destOrd="0" parTransId="{5CBFB520-9CA4-477A-8716-3A81A2132144}" sibTransId="{4E55AF4F-9EAA-4FBC-8033-306F6430B4B1}"/>
    <dgm:cxn modelId="{F800B41A-F435-4959-A5E0-25F6BC98137E}" type="presOf" srcId="{B435707D-A9C7-470E-A0C9-D537CA9E45D0}" destId="{14C40360-1FBA-447E-977D-03BE95F2C6FF}" srcOrd="0" destOrd="0" presId="urn:microsoft.com/office/officeart/2008/layout/VerticalCurvedList"/>
    <dgm:cxn modelId="{DCB16F3B-73E4-49C7-9075-5BF20E8DD1DD}" type="presOf" srcId="{69DB5D36-676D-4142-8D80-63834E16205F}" destId="{0F70EA03-B1D9-4477-B6B2-2433533C2802}" srcOrd="0" destOrd="0" presId="urn:microsoft.com/office/officeart/2008/layout/VerticalCurvedList"/>
    <dgm:cxn modelId="{63584240-4291-48D5-B3A9-D1AF83AE24CC}" srcId="{69DB5D36-676D-4142-8D80-63834E16205F}" destId="{6C10531E-F5FE-48FD-B1EA-BF6BF37988EF}" srcOrd="3" destOrd="0" parTransId="{1A35F654-61B5-40D9-AE87-966F048C2C4A}" sibTransId="{CFBF532C-AF97-4896-8429-ECF98A20CC0D}"/>
    <dgm:cxn modelId="{8E98379A-B3C2-410E-A267-786E5F7AFD32}" srcId="{69DB5D36-676D-4142-8D80-63834E16205F}" destId="{7B40EBEB-6AA4-4CAF-B2A2-0E14D4E5CE9E}" srcOrd="1" destOrd="0" parTransId="{E1712C95-A58A-419E-93A8-5289223B0510}" sibTransId="{DBD7204D-4CBA-4C9F-A5A1-566ABD99315D}"/>
    <dgm:cxn modelId="{B2F681A5-77A0-4C58-A027-FAE94DA82F95}" srcId="{69DB5D36-676D-4142-8D80-63834E16205F}" destId="{B12A17E3-8B30-4772-A202-D543186CABD4}" srcOrd="0" destOrd="0" parTransId="{E1E94CBC-6376-4110-B55B-0453A4F71F96}" sibTransId="{B435707D-A9C7-470E-A0C9-D537CA9E45D0}"/>
    <dgm:cxn modelId="{AF8744AB-D826-4828-8C72-BEBDE68B28BA}" type="presOf" srcId="{7B40EBEB-6AA4-4CAF-B2A2-0E14D4E5CE9E}" destId="{9E040533-359E-4D3D-A46A-BDE6C4CFE3D4}" srcOrd="0" destOrd="0" presId="urn:microsoft.com/office/officeart/2008/layout/VerticalCurvedList"/>
    <dgm:cxn modelId="{CD4058AE-94AB-4CFF-863C-78A6AFD2F607}" type="presOf" srcId="{6C0B443A-EA1A-4085-BFC8-438E1C9DCDF5}" destId="{DA9D640E-21BA-4FCF-B690-E7C154F2CC55}" srcOrd="0" destOrd="0" presId="urn:microsoft.com/office/officeart/2008/layout/VerticalCurvedList"/>
    <dgm:cxn modelId="{23D630B5-9C7C-4CC0-AAA2-47FE73772255}" type="presOf" srcId="{6C10531E-F5FE-48FD-B1EA-BF6BF37988EF}" destId="{03D85AB1-4BE2-4C95-84F2-A004E631F6DA}" srcOrd="0" destOrd="0" presId="urn:microsoft.com/office/officeart/2008/layout/VerticalCurvedList"/>
    <dgm:cxn modelId="{04E1CBD9-4627-4B89-9EE6-FF56B1AD936B}" type="presOf" srcId="{B12A17E3-8B30-4772-A202-D543186CABD4}" destId="{1F681C11-666A-4BFA-86E3-418B79B9B7C7}" srcOrd="0" destOrd="0" presId="urn:microsoft.com/office/officeart/2008/layout/VerticalCurvedList"/>
    <dgm:cxn modelId="{7A3256F1-2216-4FBA-87D0-9878186D9179}" type="presOf" srcId="{0067877E-60FA-4500-A53C-B6D2EAF738E2}" destId="{35512766-E82D-452F-998E-5BD4ACC88C82}" srcOrd="0" destOrd="0" presId="urn:microsoft.com/office/officeart/2008/layout/VerticalCurvedList"/>
    <dgm:cxn modelId="{7122FCF1-8AF6-4D7A-914B-44CD67EC2649}" srcId="{69DB5D36-676D-4142-8D80-63834E16205F}" destId="{0067877E-60FA-4500-A53C-B6D2EAF738E2}" srcOrd="2" destOrd="0" parTransId="{7678143D-4216-44A6-96BC-368DE195625F}" sibTransId="{A3DBB683-5578-43DF-84BE-AB94E7D6A3F5}"/>
    <dgm:cxn modelId="{15D175D2-572F-4910-A113-9F075259C3B7}" type="presParOf" srcId="{0F70EA03-B1D9-4477-B6B2-2433533C2802}" destId="{C631EDD5-F4D6-4D53-A46D-66A34B9DC21C}" srcOrd="0" destOrd="0" presId="urn:microsoft.com/office/officeart/2008/layout/VerticalCurvedList"/>
    <dgm:cxn modelId="{407EA3A0-7AB8-48BE-AE9D-DCD97549BF09}" type="presParOf" srcId="{C631EDD5-F4D6-4D53-A46D-66A34B9DC21C}" destId="{A759140C-44A3-4DF2-9AE3-D11F7C702F23}" srcOrd="0" destOrd="0" presId="urn:microsoft.com/office/officeart/2008/layout/VerticalCurvedList"/>
    <dgm:cxn modelId="{1865D01D-BB4F-4FBF-9983-2A0D3BE7E3FD}" type="presParOf" srcId="{A759140C-44A3-4DF2-9AE3-D11F7C702F23}" destId="{8D663575-1B70-42FC-8368-73608C5B9BC4}" srcOrd="0" destOrd="0" presId="urn:microsoft.com/office/officeart/2008/layout/VerticalCurvedList"/>
    <dgm:cxn modelId="{4F4908A4-D776-4D19-B9D6-13F726DB710E}" type="presParOf" srcId="{A759140C-44A3-4DF2-9AE3-D11F7C702F23}" destId="{14C40360-1FBA-447E-977D-03BE95F2C6FF}" srcOrd="1" destOrd="0" presId="urn:microsoft.com/office/officeart/2008/layout/VerticalCurvedList"/>
    <dgm:cxn modelId="{3EF7B7EB-85FB-4CAD-9903-5E1B9815D466}" type="presParOf" srcId="{A759140C-44A3-4DF2-9AE3-D11F7C702F23}" destId="{4C813AA1-5D8E-4B02-A731-EE5BB2F7EE40}" srcOrd="2" destOrd="0" presId="urn:microsoft.com/office/officeart/2008/layout/VerticalCurvedList"/>
    <dgm:cxn modelId="{60104081-9FA9-45FB-BBF5-BB21EED522A3}" type="presParOf" srcId="{A759140C-44A3-4DF2-9AE3-D11F7C702F23}" destId="{BE8886CB-55E8-439D-99AC-07E6D19F2799}" srcOrd="3" destOrd="0" presId="urn:microsoft.com/office/officeart/2008/layout/VerticalCurvedList"/>
    <dgm:cxn modelId="{A07A4183-92CD-4506-8FD4-10C94FA5BECF}" type="presParOf" srcId="{C631EDD5-F4D6-4D53-A46D-66A34B9DC21C}" destId="{1F681C11-666A-4BFA-86E3-418B79B9B7C7}" srcOrd="1" destOrd="0" presId="urn:microsoft.com/office/officeart/2008/layout/VerticalCurvedList"/>
    <dgm:cxn modelId="{4059AECC-3370-4EEA-8050-BA0A5F4AB4F4}" type="presParOf" srcId="{C631EDD5-F4D6-4D53-A46D-66A34B9DC21C}" destId="{1B670A3B-6060-47D8-A29E-BEE7140CC503}" srcOrd="2" destOrd="0" presId="urn:microsoft.com/office/officeart/2008/layout/VerticalCurvedList"/>
    <dgm:cxn modelId="{19E0C458-F98C-40B5-8C50-B0CE987C4D9C}" type="presParOf" srcId="{1B670A3B-6060-47D8-A29E-BEE7140CC503}" destId="{EF546BB7-4EF9-4C86-B0AF-36C510F00607}" srcOrd="0" destOrd="0" presId="urn:microsoft.com/office/officeart/2008/layout/VerticalCurvedList"/>
    <dgm:cxn modelId="{57E4C16D-4F76-44DB-8348-5B59D18E70B9}" type="presParOf" srcId="{C631EDD5-F4D6-4D53-A46D-66A34B9DC21C}" destId="{9E040533-359E-4D3D-A46A-BDE6C4CFE3D4}" srcOrd="3" destOrd="0" presId="urn:microsoft.com/office/officeart/2008/layout/VerticalCurvedList"/>
    <dgm:cxn modelId="{98DEEDBC-9677-48A5-8269-42E43B98D410}" type="presParOf" srcId="{C631EDD5-F4D6-4D53-A46D-66A34B9DC21C}" destId="{A4176339-80A0-4A97-8805-0981AD6807BE}" srcOrd="4" destOrd="0" presId="urn:microsoft.com/office/officeart/2008/layout/VerticalCurvedList"/>
    <dgm:cxn modelId="{D46E79FA-09EF-4842-A959-C0AD9C4B55BC}" type="presParOf" srcId="{A4176339-80A0-4A97-8805-0981AD6807BE}" destId="{AB7B8155-7828-4310-9770-C7F932AC22F3}" srcOrd="0" destOrd="0" presId="urn:microsoft.com/office/officeart/2008/layout/VerticalCurvedList"/>
    <dgm:cxn modelId="{C6E50C8D-27EE-4FC6-87D1-EFAA53983551}" type="presParOf" srcId="{C631EDD5-F4D6-4D53-A46D-66A34B9DC21C}" destId="{35512766-E82D-452F-998E-5BD4ACC88C82}" srcOrd="5" destOrd="0" presId="urn:microsoft.com/office/officeart/2008/layout/VerticalCurvedList"/>
    <dgm:cxn modelId="{6A7A825C-64D3-4BD3-9DA0-4D8D63741ECD}" type="presParOf" srcId="{C631EDD5-F4D6-4D53-A46D-66A34B9DC21C}" destId="{3CEBD569-3777-47C4-82F1-1AB9DC80D324}" srcOrd="6" destOrd="0" presId="urn:microsoft.com/office/officeart/2008/layout/VerticalCurvedList"/>
    <dgm:cxn modelId="{85407A30-A19B-4E76-BBC3-B73E8C6C5DFB}" type="presParOf" srcId="{3CEBD569-3777-47C4-82F1-1AB9DC80D324}" destId="{5E8A15BE-10EC-4B9E-BEE7-AFFCF79C345B}" srcOrd="0" destOrd="0" presId="urn:microsoft.com/office/officeart/2008/layout/VerticalCurvedList"/>
    <dgm:cxn modelId="{4D88A4F4-7101-49FD-A008-26431E69297F}" type="presParOf" srcId="{C631EDD5-F4D6-4D53-A46D-66A34B9DC21C}" destId="{03D85AB1-4BE2-4C95-84F2-A004E631F6DA}" srcOrd="7" destOrd="0" presId="urn:microsoft.com/office/officeart/2008/layout/VerticalCurvedList"/>
    <dgm:cxn modelId="{A5F1C804-3CFB-4FAA-AABA-A9F21A89A35B}" type="presParOf" srcId="{C631EDD5-F4D6-4D53-A46D-66A34B9DC21C}" destId="{7709FC38-152F-4F67-B7FF-1DDA61368C9F}" srcOrd="8" destOrd="0" presId="urn:microsoft.com/office/officeart/2008/layout/VerticalCurvedList"/>
    <dgm:cxn modelId="{00B9B60E-90A1-48A5-9FA0-4A9359CBC23F}" type="presParOf" srcId="{7709FC38-152F-4F67-B7FF-1DDA61368C9F}" destId="{EC160F4C-67A8-476F-AA27-CD4B15BA3B37}" srcOrd="0" destOrd="0" presId="urn:microsoft.com/office/officeart/2008/layout/VerticalCurvedList"/>
    <dgm:cxn modelId="{B78DF568-F486-4030-B42B-A2DEEAC268E6}" type="presParOf" srcId="{C631EDD5-F4D6-4D53-A46D-66A34B9DC21C}" destId="{DA9D640E-21BA-4FCF-B690-E7C154F2CC55}" srcOrd="9" destOrd="0" presId="urn:microsoft.com/office/officeart/2008/layout/VerticalCurvedList"/>
    <dgm:cxn modelId="{6A6E374D-C2A6-4443-8F0E-7B649790D9A1}" type="presParOf" srcId="{C631EDD5-F4D6-4D53-A46D-66A34B9DC21C}" destId="{8C46BEA1-0CA0-448B-A9A0-C140DECDA250}" srcOrd="10" destOrd="0" presId="urn:microsoft.com/office/officeart/2008/layout/VerticalCurvedList"/>
    <dgm:cxn modelId="{EA022117-5E8E-4CA3-9FF9-EB7C72C2EF9F}" type="presParOf" srcId="{8C46BEA1-0CA0-448B-A9A0-C140DECDA250}" destId="{45B800AD-F155-4ADE-8396-B02C1DBF336A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9FEC8E-5758-4071-9BBF-2AD68D721511}" type="doc">
      <dgm:prSet loTypeId="urn:microsoft.com/office/officeart/2005/8/layout/target1" loCatId="relationship" qsTypeId="urn:microsoft.com/office/officeart/2005/8/quickstyle/simple1" qsCatId="simple" csTypeId="urn:microsoft.com/office/officeart/2005/8/colors/accent1_5" csCatId="accent1" phldr="1"/>
      <dgm:spPr/>
    </dgm:pt>
    <dgm:pt modelId="{046C0533-DE19-4F47-B759-C8B559D3B287}">
      <dgm:prSet phldrT="[Texto]" custT="1"/>
      <dgm:spPr/>
      <dgm:t>
        <a:bodyPr/>
        <a:lstStyle/>
        <a:p>
          <a:r>
            <a:rPr lang="es-EC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Establecer</a:t>
          </a:r>
          <a:r>
            <a:rPr lang="es-EC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el marco teórico y referencial del tema de estudio a través de la revisión de literatura y estado del arte para comprender las bases teóricas y alinear la investigación</a:t>
          </a:r>
        </a:p>
      </dgm:t>
    </dgm:pt>
    <dgm:pt modelId="{9E53AD9C-8743-4F0C-A614-CF28BAB598D8}" type="parTrans" cxnId="{85E7B8DA-AC0B-4F4F-8903-24BBD4B16A6A}">
      <dgm:prSet/>
      <dgm:spPr/>
      <dgm:t>
        <a:bodyPr/>
        <a:lstStyle/>
        <a:p>
          <a:endParaRPr lang="es-EC"/>
        </a:p>
      </dgm:t>
    </dgm:pt>
    <dgm:pt modelId="{B519F112-C7E5-4AF2-A1F1-837C68A02A80}" type="sibTrans" cxnId="{85E7B8DA-AC0B-4F4F-8903-24BBD4B16A6A}">
      <dgm:prSet/>
      <dgm:spPr/>
      <dgm:t>
        <a:bodyPr/>
        <a:lstStyle/>
        <a:p>
          <a:endParaRPr lang="es-EC"/>
        </a:p>
      </dgm:t>
    </dgm:pt>
    <dgm:pt modelId="{790C9702-71AB-45BF-B286-92152A638C5E}">
      <dgm:prSet phldrT="[Texto]" custT="1"/>
      <dgm:spPr/>
      <dgm:t>
        <a:bodyPr/>
        <a:lstStyle/>
        <a:p>
          <a:r>
            <a:rPr lang="es-EC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Realizar</a:t>
          </a:r>
          <a:r>
            <a:rPr lang="es-EC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un diagnóstico de la situación actual de la parroquia rural de Pacto a través de la investigación de campo y bibliográfica</a:t>
          </a:r>
        </a:p>
      </dgm:t>
    </dgm:pt>
    <dgm:pt modelId="{111E6819-0E9D-4AD8-BB33-BAF750788926}" type="parTrans" cxnId="{D09600B0-D0B8-4FD4-A075-8154F61FC867}">
      <dgm:prSet/>
      <dgm:spPr/>
      <dgm:t>
        <a:bodyPr/>
        <a:lstStyle/>
        <a:p>
          <a:endParaRPr lang="es-EC"/>
        </a:p>
      </dgm:t>
    </dgm:pt>
    <dgm:pt modelId="{385E13C6-FFAE-40CF-962D-416D51E54600}" type="sibTrans" cxnId="{D09600B0-D0B8-4FD4-A075-8154F61FC867}">
      <dgm:prSet/>
      <dgm:spPr/>
      <dgm:t>
        <a:bodyPr/>
        <a:lstStyle/>
        <a:p>
          <a:endParaRPr lang="es-EC"/>
        </a:p>
      </dgm:t>
    </dgm:pt>
    <dgm:pt modelId="{42F200D4-4A2F-4191-8EE8-3FFA8BFA0924}">
      <dgm:prSet phldrT="[Texto]" custT="1"/>
      <dgm:spPr/>
      <dgm:t>
        <a:bodyPr/>
        <a:lstStyle/>
        <a:p>
          <a:r>
            <a:rPr lang="es-EC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Analizar</a:t>
          </a:r>
          <a:r>
            <a:rPr lang="es-EC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 los resultados obtenidos mediante herramientas metodológicas aplicadas para evaluar la viabilidad del tema</a:t>
          </a:r>
        </a:p>
      </dgm:t>
    </dgm:pt>
    <dgm:pt modelId="{E1FCA1CF-8390-406F-9900-D7C01F1660FB}" type="parTrans" cxnId="{97CFAE44-FA0F-4208-AEFE-F52EDD68DE07}">
      <dgm:prSet/>
      <dgm:spPr/>
      <dgm:t>
        <a:bodyPr/>
        <a:lstStyle/>
        <a:p>
          <a:endParaRPr lang="es-EC"/>
        </a:p>
      </dgm:t>
    </dgm:pt>
    <dgm:pt modelId="{B634C2DD-E550-47C7-8A9D-4A9C8C906906}" type="sibTrans" cxnId="{97CFAE44-FA0F-4208-AEFE-F52EDD68DE07}">
      <dgm:prSet/>
      <dgm:spPr/>
      <dgm:t>
        <a:bodyPr/>
        <a:lstStyle/>
        <a:p>
          <a:endParaRPr lang="es-EC"/>
        </a:p>
      </dgm:t>
    </dgm:pt>
    <dgm:pt modelId="{49BE86AD-C5F4-49EB-9886-69144C6B86F9}">
      <dgm:prSet custT="1"/>
      <dgm:spPr/>
      <dgm:t>
        <a:bodyPr/>
        <a:lstStyle/>
        <a:p>
          <a:r>
            <a:rPr lang="es-EC" sz="1600" b="1" dirty="0">
              <a:latin typeface="Times New Roman" panose="02020603050405020304" pitchFamily="18" charset="0"/>
              <a:cs typeface="Times New Roman" panose="02020603050405020304" pitchFamily="18" charset="0"/>
            </a:rPr>
            <a:t>Proponer </a:t>
          </a:r>
          <a:r>
            <a:rPr lang="es-EC" sz="1600" dirty="0">
              <a:latin typeface="Times New Roman" panose="02020603050405020304" pitchFamily="18" charset="0"/>
              <a:cs typeface="Times New Roman" panose="02020603050405020304" pitchFamily="18" charset="0"/>
            </a:rPr>
            <a:t>estrategias para el posicionamiento turístico rural de la parroquia Pacto y su desarrollo local</a:t>
          </a:r>
        </a:p>
      </dgm:t>
    </dgm:pt>
    <dgm:pt modelId="{8AB5ABE4-F083-42A2-8428-2A7B6FABD28A}" type="parTrans" cxnId="{C88FF709-1D92-4425-999B-4A9DC210B50A}">
      <dgm:prSet/>
      <dgm:spPr/>
      <dgm:t>
        <a:bodyPr/>
        <a:lstStyle/>
        <a:p>
          <a:endParaRPr lang="es-EC"/>
        </a:p>
      </dgm:t>
    </dgm:pt>
    <dgm:pt modelId="{D3E4BFAC-20B3-4F7F-A024-9A0BB871C18D}" type="sibTrans" cxnId="{C88FF709-1D92-4425-999B-4A9DC210B50A}">
      <dgm:prSet/>
      <dgm:spPr/>
      <dgm:t>
        <a:bodyPr/>
        <a:lstStyle/>
        <a:p>
          <a:endParaRPr lang="es-EC"/>
        </a:p>
      </dgm:t>
    </dgm:pt>
    <dgm:pt modelId="{C8072C5D-5E93-41AE-A2CF-ED4090CD60DC}" type="pres">
      <dgm:prSet presAssocID="{099FEC8E-5758-4071-9BBF-2AD68D721511}" presName="composite" presStyleCnt="0">
        <dgm:presLayoutVars>
          <dgm:chMax val="5"/>
          <dgm:dir/>
          <dgm:resizeHandles val="exact"/>
        </dgm:presLayoutVars>
      </dgm:prSet>
      <dgm:spPr/>
    </dgm:pt>
    <dgm:pt modelId="{EE141E82-8A43-4499-A21C-DEAF0834CB56}" type="pres">
      <dgm:prSet presAssocID="{046C0533-DE19-4F47-B759-C8B559D3B287}" presName="circle1" presStyleLbl="lnNode1" presStyleIdx="0" presStyleCnt="4"/>
      <dgm:spPr/>
    </dgm:pt>
    <dgm:pt modelId="{FB1CFA47-989E-4429-8460-D468FD959429}" type="pres">
      <dgm:prSet presAssocID="{046C0533-DE19-4F47-B759-C8B559D3B287}" presName="text1" presStyleLbl="revTx" presStyleIdx="0" presStyleCnt="4" custScaleX="276591" custLinFactNeighborX="60270" custLinFactNeighborY="34312">
        <dgm:presLayoutVars>
          <dgm:bulletEnabled val="1"/>
        </dgm:presLayoutVars>
      </dgm:prSet>
      <dgm:spPr/>
    </dgm:pt>
    <dgm:pt modelId="{C03C574A-28FC-4C28-B96C-0A59CA8104D0}" type="pres">
      <dgm:prSet presAssocID="{046C0533-DE19-4F47-B759-C8B559D3B287}" presName="line1" presStyleLbl="callout" presStyleIdx="0" presStyleCnt="8"/>
      <dgm:spPr/>
    </dgm:pt>
    <dgm:pt modelId="{88E97692-EE2E-44D2-93CF-2677D0A43827}" type="pres">
      <dgm:prSet presAssocID="{046C0533-DE19-4F47-B759-C8B559D3B287}" presName="d1" presStyleLbl="callout" presStyleIdx="1" presStyleCnt="8"/>
      <dgm:spPr/>
    </dgm:pt>
    <dgm:pt modelId="{C88E0493-91F7-471E-8736-A852E1FF2371}" type="pres">
      <dgm:prSet presAssocID="{790C9702-71AB-45BF-B286-92152A638C5E}" presName="circle2" presStyleLbl="lnNode1" presStyleIdx="1" presStyleCnt="4"/>
      <dgm:spPr/>
    </dgm:pt>
    <dgm:pt modelId="{B410CB7A-2BE3-4729-A447-914AA1209D10}" type="pres">
      <dgm:prSet presAssocID="{790C9702-71AB-45BF-B286-92152A638C5E}" presName="text2" presStyleLbl="revTx" presStyleIdx="1" presStyleCnt="4" custScaleX="275562" custLinFactNeighborX="59495" custLinFactNeighborY="43003">
        <dgm:presLayoutVars>
          <dgm:bulletEnabled val="1"/>
        </dgm:presLayoutVars>
      </dgm:prSet>
      <dgm:spPr/>
    </dgm:pt>
    <dgm:pt modelId="{E15147D6-5A82-4536-B5D7-41BB651F7847}" type="pres">
      <dgm:prSet presAssocID="{790C9702-71AB-45BF-B286-92152A638C5E}" presName="line2" presStyleLbl="callout" presStyleIdx="2" presStyleCnt="8"/>
      <dgm:spPr/>
    </dgm:pt>
    <dgm:pt modelId="{0A61D428-1B5C-4C76-BEA4-4AFA319F897B}" type="pres">
      <dgm:prSet presAssocID="{790C9702-71AB-45BF-B286-92152A638C5E}" presName="d2" presStyleLbl="callout" presStyleIdx="3" presStyleCnt="8"/>
      <dgm:spPr/>
    </dgm:pt>
    <dgm:pt modelId="{3552EADA-FAF4-4171-AAC3-6EB1C1BB835A}" type="pres">
      <dgm:prSet presAssocID="{42F200D4-4A2F-4191-8EE8-3FFA8BFA0924}" presName="circle3" presStyleLbl="lnNode1" presStyleIdx="2" presStyleCnt="4"/>
      <dgm:spPr/>
    </dgm:pt>
    <dgm:pt modelId="{30DBCD72-1759-454F-B170-0D48D873484D}" type="pres">
      <dgm:prSet presAssocID="{42F200D4-4A2F-4191-8EE8-3FFA8BFA0924}" presName="text3" presStyleLbl="revTx" presStyleIdx="2" presStyleCnt="4" custScaleX="272236" custLinFactNeighborX="58812" custLinFactNeighborY="38246">
        <dgm:presLayoutVars>
          <dgm:bulletEnabled val="1"/>
        </dgm:presLayoutVars>
      </dgm:prSet>
      <dgm:spPr/>
    </dgm:pt>
    <dgm:pt modelId="{2E9F7500-5BDD-48ED-A927-D0A48EFD140E}" type="pres">
      <dgm:prSet presAssocID="{42F200D4-4A2F-4191-8EE8-3FFA8BFA0924}" presName="line3" presStyleLbl="callout" presStyleIdx="4" presStyleCnt="8"/>
      <dgm:spPr/>
    </dgm:pt>
    <dgm:pt modelId="{CB44F6F1-11FF-4BCD-9876-CBD53DED59E8}" type="pres">
      <dgm:prSet presAssocID="{42F200D4-4A2F-4191-8EE8-3FFA8BFA0924}" presName="d3" presStyleLbl="callout" presStyleIdx="5" presStyleCnt="8"/>
      <dgm:spPr/>
    </dgm:pt>
    <dgm:pt modelId="{B95BFEA2-0CD4-453C-8685-F73B3AFD8C7D}" type="pres">
      <dgm:prSet presAssocID="{49BE86AD-C5F4-49EB-9886-69144C6B86F9}" presName="circle4" presStyleLbl="lnNode1" presStyleIdx="3" presStyleCnt="4" custLinFactNeighborX="-203" custLinFactNeighborY="0"/>
      <dgm:spPr/>
    </dgm:pt>
    <dgm:pt modelId="{2B2FAEC9-15A0-4684-BCF4-FA8983196927}" type="pres">
      <dgm:prSet presAssocID="{49BE86AD-C5F4-49EB-9886-69144C6B86F9}" presName="text4" presStyleLbl="revTx" presStyleIdx="3" presStyleCnt="4" custScaleX="280442" custLinFactNeighborX="61610" custLinFactNeighborY="31452">
        <dgm:presLayoutVars>
          <dgm:bulletEnabled val="1"/>
        </dgm:presLayoutVars>
      </dgm:prSet>
      <dgm:spPr/>
    </dgm:pt>
    <dgm:pt modelId="{CA5DA88E-E116-4C45-9AFE-66A7814A6F1F}" type="pres">
      <dgm:prSet presAssocID="{49BE86AD-C5F4-49EB-9886-69144C6B86F9}" presName="line4" presStyleLbl="callout" presStyleIdx="6" presStyleCnt="8"/>
      <dgm:spPr/>
    </dgm:pt>
    <dgm:pt modelId="{4B307AD5-8028-4A13-83A1-D58C1667436A}" type="pres">
      <dgm:prSet presAssocID="{49BE86AD-C5F4-49EB-9886-69144C6B86F9}" presName="d4" presStyleLbl="callout" presStyleIdx="7" presStyleCnt="8" custLinFactNeighborY="0"/>
      <dgm:spPr/>
    </dgm:pt>
  </dgm:ptLst>
  <dgm:cxnLst>
    <dgm:cxn modelId="{68DE1406-A978-4651-AD86-3C3BAE9CC110}" type="presOf" srcId="{790C9702-71AB-45BF-B286-92152A638C5E}" destId="{B410CB7A-2BE3-4729-A447-914AA1209D10}" srcOrd="0" destOrd="0" presId="urn:microsoft.com/office/officeart/2005/8/layout/target1"/>
    <dgm:cxn modelId="{C88FF709-1D92-4425-999B-4A9DC210B50A}" srcId="{099FEC8E-5758-4071-9BBF-2AD68D721511}" destId="{49BE86AD-C5F4-49EB-9886-69144C6B86F9}" srcOrd="3" destOrd="0" parTransId="{8AB5ABE4-F083-42A2-8428-2A7B6FABD28A}" sibTransId="{D3E4BFAC-20B3-4F7F-A024-9A0BB871C18D}"/>
    <dgm:cxn modelId="{76F0FE5D-0E0D-4AE9-BABD-0A72FEF314DB}" type="presOf" srcId="{099FEC8E-5758-4071-9BBF-2AD68D721511}" destId="{C8072C5D-5E93-41AE-A2CF-ED4090CD60DC}" srcOrd="0" destOrd="0" presId="urn:microsoft.com/office/officeart/2005/8/layout/target1"/>
    <dgm:cxn modelId="{97CFAE44-FA0F-4208-AEFE-F52EDD68DE07}" srcId="{099FEC8E-5758-4071-9BBF-2AD68D721511}" destId="{42F200D4-4A2F-4191-8EE8-3FFA8BFA0924}" srcOrd="2" destOrd="0" parTransId="{E1FCA1CF-8390-406F-9900-D7C01F1660FB}" sibTransId="{B634C2DD-E550-47C7-8A9D-4A9C8C906906}"/>
    <dgm:cxn modelId="{A4310665-7CAC-4E15-8C52-B0C6B9E46A12}" type="presOf" srcId="{49BE86AD-C5F4-49EB-9886-69144C6B86F9}" destId="{2B2FAEC9-15A0-4684-BCF4-FA8983196927}" srcOrd="0" destOrd="0" presId="urn:microsoft.com/office/officeart/2005/8/layout/target1"/>
    <dgm:cxn modelId="{6763C7A7-5EFB-4018-A7DC-793AA89379A5}" type="presOf" srcId="{42F200D4-4A2F-4191-8EE8-3FFA8BFA0924}" destId="{30DBCD72-1759-454F-B170-0D48D873484D}" srcOrd="0" destOrd="0" presId="urn:microsoft.com/office/officeart/2005/8/layout/target1"/>
    <dgm:cxn modelId="{D09600B0-D0B8-4FD4-A075-8154F61FC867}" srcId="{099FEC8E-5758-4071-9BBF-2AD68D721511}" destId="{790C9702-71AB-45BF-B286-92152A638C5E}" srcOrd="1" destOrd="0" parTransId="{111E6819-0E9D-4AD8-BB33-BAF750788926}" sibTransId="{385E13C6-FFAE-40CF-962D-416D51E54600}"/>
    <dgm:cxn modelId="{159772C8-0A94-42BF-B55F-34F8AE41F4B7}" type="presOf" srcId="{046C0533-DE19-4F47-B759-C8B559D3B287}" destId="{FB1CFA47-989E-4429-8460-D468FD959429}" srcOrd="0" destOrd="0" presId="urn:microsoft.com/office/officeart/2005/8/layout/target1"/>
    <dgm:cxn modelId="{85E7B8DA-AC0B-4F4F-8903-24BBD4B16A6A}" srcId="{099FEC8E-5758-4071-9BBF-2AD68D721511}" destId="{046C0533-DE19-4F47-B759-C8B559D3B287}" srcOrd="0" destOrd="0" parTransId="{9E53AD9C-8743-4F0C-A614-CF28BAB598D8}" sibTransId="{B519F112-C7E5-4AF2-A1F1-837C68A02A80}"/>
    <dgm:cxn modelId="{2BC44BF8-BA5A-40A8-BFA6-EB1B95B42691}" type="presParOf" srcId="{C8072C5D-5E93-41AE-A2CF-ED4090CD60DC}" destId="{EE141E82-8A43-4499-A21C-DEAF0834CB56}" srcOrd="0" destOrd="0" presId="urn:microsoft.com/office/officeart/2005/8/layout/target1"/>
    <dgm:cxn modelId="{48610A58-0B05-4D21-92A0-12CE510854AE}" type="presParOf" srcId="{C8072C5D-5E93-41AE-A2CF-ED4090CD60DC}" destId="{FB1CFA47-989E-4429-8460-D468FD959429}" srcOrd="1" destOrd="0" presId="urn:microsoft.com/office/officeart/2005/8/layout/target1"/>
    <dgm:cxn modelId="{D5965536-0EB5-4770-91C7-C59BFE76BAB5}" type="presParOf" srcId="{C8072C5D-5E93-41AE-A2CF-ED4090CD60DC}" destId="{C03C574A-28FC-4C28-B96C-0A59CA8104D0}" srcOrd="2" destOrd="0" presId="urn:microsoft.com/office/officeart/2005/8/layout/target1"/>
    <dgm:cxn modelId="{24910F91-93A9-401F-BCF1-85140CFA6691}" type="presParOf" srcId="{C8072C5D-5E93-41AE-A2CF-ED4090CD60DC}" destId="{88E97692-EE2E-44D2-93CF-2677D0A43827}" srcOrd="3" destOrd="0" presId="urn:microsoft.com/office/officeart/2005/8/layout/target1"/>
    <dgm:cxn modelId="{3C8E4811-86A8-41D7-ADFE-626531A8161D}" type="presParOf" srcId="{C8072C5D-5E93-41AE-A2CF-ED4090CD60DC}" destId="{C88E0493-91F7-471E-8736-A852E1FF2371}" srcOrd="4" destOrd="0" presId="urn:microsoft.com/office/officeart/2005/8/layout/target1"/>
    <dgm:cxn modelId="{D04C4FB8-1FF9-4C6C-8382-FA2B0B380E09}" type="presParOf" srcId="{C8072C5D-5E93-41AE-A2CF-ED4090CD60DC}" destId="{B410CB7A-2BE3-4729-A447-914AA1209D10}" srcOrd="5" destOrd="0" presId="urn:microsoft.com/office/officeart/2005/8/layout/target1"/>
    <dgm:cxn modelId="{25D52BA3-DD2B-44DA-B214-D7B19CA22E1C}" type="presParOf" srcId="{C8072C5D-5E93-41AE-A2CF-ED4090CD60DC}" destId="{E15147D6-5A82-4536-B5D7-41BB651F7847}" srcOrd="6" destOrd="0" presId="urn:microsoft.com/office/officeart/2005/8/layout/target1"/>
    <dgm:cxn modelId="{43579D8E-8ABE-4C91-8F36-7038FD771A39}" type="presParOf" srcId="{C8072C5D-5E93-41AE-A2CF-ED4090CD60DC}" destId="{0A61D428-1B5C-4C76-BEA4-4AFA319F897B}" srcOrd="7" destOrd="0" presId="urn:microsoft.com/office/officeart/2005/8/layout/target1"/>
    <dgm:cxn modelId="{E5102BAE-C2F0-44FB-8EDB-025526C2DB4C}" type="presParOf" srcId="{C8072C5D-5E93-41AE-A2CF-ED4090CD60DC}" destId="{3552EADA-FAF4-4171-AAC3-6EB1C1BB835A}" srcOrd="8" destOrd="0" presId="urn:microsoft.com/office/officeart/2005/8/layout/target1"/>
    <dgm:cxn modelId="{18C3CC87-D3D5-4E03-A02E-162B2CB9F308}" type="presParOf" srcId="{C8072C5D-5E93-41AE-A2CF-ED4090CD60DC}" destId="{30DBCD72-1759-454F-B170-0D48D873484D}" srcOrd="9" destOrd="0" presId="urn:microsoft.com/office/officeart/2005/8/layout/target1"/>
    <dgm:cxn modelId="{71785291-2ED2-497D-9C8A-F91DD94B29CA}" type="presParOf" srcId="{C8072C5D-5E93-41AE-A2CF-ED4090CD60DC}" destId="{2E9F7500-5BDD-48ED-A927-D0A48EFD140E}" srcOrd="10" destOrd="0" presId="urn:microsoft.com/office/officeart/2005/8/layout/target1"/>
    <dgm:cxn modelId="{C1BA7207-AC66-46AB-8E12-EDEC699DA002}" type="presParOf" srcId="{C8072C5D-5E93-41AE-A2CF-ED4090CD60DC}" destId="{CB44F6F1-11FF-4BCD-9876-CBD53DED59E8}" srcOrd="11" destOrd="0" presId="urn:microsoft.com/office/officeart/2005/8/layout/target1"/>
    <dgm:cxn modelId="{B5D8B8E4-B4BC-4F25-9A39-E197DBDDDAFE}" type="presParOf" srcId="{C8072C5D-5E93-41AE-A2CF-ED4090CD60DC}" destId="{B95BFEA2-0CD4-453C-8685-F73B3AFD8C7D}" srcOrd="12" destOrd="0" presId="urn:microsoft.com/office/officeart/2005/8/layout/target1"/>
    <dgm:cxn modelId="{214D0ECE-B41F-4746-8C5D-55CCA3CE3EB8}" type="presParOf" srcId="{C8072C5D-5E93-41AE-A2CF-ED4090CD60DC}" destId="{2B2FAEC9-15A0-4684-BCF4-FA8983196927}" srcOrd="13" destOrd="0" presId="urn:microsoft.com/office/officeart/2005/8/layout/target1"/>
    <dgm:cxn modelId="{D1EDF509-CA54-4A51-BA81-9902A0CEAA84}" type="presParOf" srcId="{C8072C5D-5E93-41AE-A2CF-ED4090CD60DC}" destId="{CA5DA88E-E116-4C45-9AFE-66A7814A6F1F}" srcOrd="14" destOrd="0" presId="urn:microsoft.com/office/officeart/2005/8/layout/target1"/>
    <dgm:cxn modelId="{1061B938-34DC-4535-85A7-0A19270D012E}" type="presParOf" srcId="{C8072C5D-5E93-41AE-A2CF-ED4090CD60DC}" destId="{4B307AD5-8028-4A13-83A1-D58C1667436A}" srcOrd="15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82BD29-342F-4779-B1D2-B9E12F8054A7}" type="doc">
      <dgm:prSet loTypeId="urn:microsoft.com/office/officeart/2005/8/layout/h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EC"/>
        </a:p>
      </dgm:t>
    </dgm:pt>
    <dgm:pt modelId="{9E17CA72-20C2-49FF-AFFB-725873E758CF}">
      <dgm:prSet phldrT="[Texto]"/>
      <dgm:spPr/>
      <dgm:t>
        <a:bodyPr/>
        <a:lstStyle/>
        <a:p>
          <a:r>
            <a:rPr lang="es-ES" dirty="0"/>
            <a:t>Velásquez 1986</a:t>
          </a:r>
          <a:endParaRPr lang="es-EC" dirty="0"/>
        </a:p>
      </dgm:t>
    </dgm:pt>
    <dgm:pt modelId="{55820539-11C9-43B1-AA83-BBAF0EF1C87C}" type="parTrans" cxnId="{9F49A336-0471-4F82-A87D-4F4641854C3C}">
      <dgm:prSet/>
      <dgm:spPr/>
      <dgm:t>
        <a:bodyPr/>
        <a:lstStyle/>
        <a:p>
          <a:endParaRPr lang="es-EC"/>
        </a:p>
      </dgm:t>
    </dgm:pt>
    <dgm:pt modelId="{7BA6657C-1B3B-4043-9A79-40829228CB31}" type="sibTrans" cxnId="{9F49A336-0471-4F82-A87D-4F4641854C3C}">
      <dgm:prSet/>
      <dgm:spPr/>
      <dgm:t>
        <a:bodyPr/>
        <a:lstStyle/>
        <a:p>
          <a:endParaRPr lang="es-EC"/>
        </a:p>
      </dgm:t>
    </dgm:pt>
    <dgm:pt modelId="{D328ABE0-623D-4995-9845-9C429397C4B9}">
      <dgm:prSet phldrT="[Texto]"/>
      <dgm:spPr/>
      <dgm:t>
        <a:bodyPr/>
        <a:lstStyle/>
        <a:p>
          <a:r>
            <a:rPr lang="es-ES" dirty="0"/>
            <a:t>Unión de procesos sociales culturales, políticos, económicos</a:t>
          </a:r>
          <a:endParaRPr lang="es-EC" dirty="0"/>
        </a:p>
      </dgm:t>
    </dgm:pt>
    <dgm:pt modelId="{E5904E85-39FF-466C-8DD8-E6507C6CDE7A}" type="parTrans" cxnId="{D4FF4923-6833-4208-B720-86B7DA197F97}">
      <dgm:prSet/>
      <dgm:spPr/>
      <dgm:t>
        <a:bodyPr/>
        <a:lstStyle/>
        <a:p>
          <a:endParaRPr lang="es-EC"/>
        </a:p>
      </dgm:t>
    </dgm:pt>
    <dgm:pt modelId="{6644A419-4641-4D2E-A54B-2ABD21F8D9CB}" type="sibTrans" cxnId="{D4FF4923-6833-4208-B720-86B7DA197F97}">
      <dgm:prSet/>
      <dgm:spPr/>
      <dgm:t>
        <a:bodyPr/>
        <a:lstStyle/>
        <a:p>
          <a:endParaRPr lang="es-EC"/>
        </a:p>
      </dgm:t>
    </dgm:pt>
    <dgm:pt modelId="{9A2A0B7B-0B09-4450-A7F6-F32299CC121A}">
      <dgm:prSet phldrT="[Texto]"/>
      <dgm:spPr/>
      <dgm:t>
        <a:bodyPr/>
        <a:lstStyle/>
        <a:p>
          <a:r>
            <a:rPr lang="es-ES" dirty="0"/>
            <a:t>Ventajas y oportunidades  con base al entorno</a:t>
          </a:r>
          <a:endParaRPr lang="es-EC" dirty="0"/>
        </a:p>
      </dgm:t>
    </dgm:pt>
    <dgm:pt modelId="{B6D72F0E-8661-49F0-B40A-81B262E9B45E}" type="parTrans" cxnId="{27B27F9A-B614-40B2-A900-DAC67CFD86DF}">
      <dgm:prSet/>
      <dgm:spPr/>
      <dgm:t>
        <a:bodyPr/>
        <a:lstStyle/>
        <a:p>
          <a:endParaRPr lang="es-EC"/>
        </a:p>
      </dgm:t>
    </dgm:pt>
    <dgm:pt modelId="{73544ED6-A817-4640-A74D-DDD447B52ED0}" type="sibTrans" cxnId="{27B27F9A-B614-40B2-A900-DAC67CFD86DF}">
      <dgm:prSet/>
      <dgm:spPr/>
      <dgm:t>
        <a:bodyPr/>
        <a:lstStyle/>
        <a:p>
          <a:endParaRPr lang="es-EC"/>
        </a:p>
      </dgm:t>
    </dgm:pt>
    <dgm:pt modelId="{1E347604-F593-4CAC-84DC-6CD792303031}">
      <dgm:prSet phldrT="[Texto]"/>
      <dgm:spPr/>
      <dgm:t>
        <a:bodyPr/>
        <a:lstStyle/>
        <a:p>
          <a:r>
            <a:rPr lang="es-ES" dirty="0"/>
            <a:t>Barquero 2000</a:t>
          </a:r>
          <a:endParaRPr lang="es-EC" dirty="0"/>
        </a:p>
      </dgm:t>
    </dgm:pt>
    <dgm:pt modelId="{C6869CAC-6CB3-4BDE-8CAF-25C066E00544}" type="parTrans" cxnId="{FE2D2391-7601-4DE2-8DE0-9F82266FEDA4}">
      <dgm:prSet/>
      <dgm:spPr/>
      <dgm:t>
        <a:bodyPr/>
        <a:lstStyle/>
        <a:p>
          <a:endParaRPr lang="es-EC"/>
        </a:p>
      </dgm:t>
    </dgm:pt>
    <dgm:pt modelId="{E746AF7B-8280-4F2F-B422-72DA89465A94}" type="sibTrans" cxnId="{FE2D2391-7601-4DE2-8DE0-9F82266FEDA4}">
      <dgm:prSet/>
      <dgm:spPr/>
      <dgm:t>
        <a:bodyPr/>
        <a:lstStyle/>
        <a:p>
          <a:endParaRPr lang="es-EC"/>
        </a:p>
      </dgm:t>
    </dgm:pt>
    <dgm:pt modelId="{F2B2A05A-6C9E-43E5-A16A-BA1E9639DF8B}">
      <dgm:prSet phldrT="[Texto]"/>
      <dgm:spPr/>
      <dgm:t>
        <a:bodyPr/>
        <a:lstStyle/>
        <a:p>
          <a:r>
            <a:rPr lang="es-ES" dirty="0"/>
            <a:t>Proceso de crecimiento y cambio estructural</a:t>
          </a:r>
          <a:endParaRPr lang="es-EC" dirty="0"/>
        </a:p>
      </dgm:t>
    </dgm:pt>
    <dgm:pt modelId="{79AA1920-C034-486D-9DD5-17AA15604C00}" type="parTrans" cxnId="{94EEE1B5-1639-443F-B86B-F2A76B8BC017}">
      <dgm:prSet/>
      <dgm:spPr/>
      <dgm:t>
        <a:bodyPr/>
        <a:lstStyle/>
        <a:p>
          <a:endParaRPr lang="es-EC"/>
        </a:p>
      </dgm:t>
    </dgm:pt>
    <dgm:pt modelId="{1AF6C93D-44B1-4CBF-8ACB-29DAF2B377A8}" type="sibTrans" cxnId="{94EEE1B5-1639-443F-B86B-F2A76B8BC017}">
      <dgm:prSet/>
      <dgm:spPr/>
      <dgm:t>
        <a:bodyPr/>
        <a:lstStyle/>
        <a:p>
          <a:endParaRPr lang="es-EC"/>
        </a:p>
      </dgm:t>
    </dgm:pt>
    <dgm:pt modelId="{EF44C5B3-FD02-456C-B706-31A30C4D8033}">
      <dgm:prSet phldrT="[Texto]"/>
      <dgm:spPr/>
      <dgm:t>
        <a:bodyPr/>
        <a:lstStyle/>
        <a:p>
          <a:r>
            <a:rPr lang="es-ES" dirty="0"/>
            <a:t>Aprovechamiento del potencial para lograra el bienestar</a:t>
          </a:r>
          <a:endParaRPr lang="es-EC" dirty="0"/>
        </a:p>
      </dgm:t>
    </dgm:pt>
    <dgm:pt modelId="{DABA57B9-288F-49D3-9425-0AC018354A81}" type="parTrans" cxnId="{5DA4E195-CC19-44BB-BF63-E1A59D29FCC0}">
      <dgm:prSet/>
      <dgm:spPr/>
      <dgm:t>
        <a:bodyPr/>
        <a:lstStyle/>
        <a:p>
          <a:endParaRPr lang="es-EC"/>
        </a:p>
      </dgm:t>
    </dgm:pt>
    <dgm:pt modelId="{DCFA07C8-80F6-4F01-9906-BE9271776EEB}" type="sibTrans" cxnId="{5DA4E195-CC19-44BB-BF63-E1A59D29FCC0}">
      <dgm:prSet/>
      <dgm:spPr/>
      <dgm:t>
        <a:bodyPr/>
        <a:lstStyle/>
        <a:p>
          <a:endParaRPr lang="es-EC"/>
        </a:p>
      </dgm:t>
    </dgm:pt>
    <dgm:pt modelId="{97EA29A9-97A7-44C4-864F-39F27AA420EA}">
      <dgm:prSet phldrT="[Texto]"/>
      <dgm:spPr/>
      <dgm:t>
        <a:bodyPr/>
        <a:lstStyle/>
        <a:p>
          <a:r>
            <a:rPr lang="es-ES" dirty="0"/>
            <a:t>Coffey &amp;</a:t>
          </a:r>
          <a:r>
            <a:rPr lang="es-ES" dirty="0" err="1"/>
            <a:t>Polesse</a:t>
          </a:r>
          <a:r>
            <a:rPr lang="es-ES" dirty="0"/>
            <a:t> 2007</a:t>
          </a:r>
          <a:endParaRPr lang="es-EC" dirty="0"/>
        </a:p>
      </dgm:t>
    </dgm:pt>
    <dgm:pt modelId="{7138EB56-904D-4665-B2F1-C0A600E8AFF6}" type="parTrans" cxnId="{15C601CD-2CE2-460B-808F-0D9E30ECB18E}">
      <dgm:prSet/>
      <dgm:spPr/>
      <dgm:t>
        <a:bodyPr/>
        <a:lstStyle/>
        <a:p>
          <a:endParaRPr lang="es-EC"/>
        </a:p>
      </dgm:t>
    </dgm:pt>
    <dgm:pt modelId="{A1C9C304-6A3A-4D3F-B0A6-26411E58DF74}" type="sibTrans" cxnId="{15C601CD-2CE2-460B-808F-0D9E30ECB18E}">
      <dgm:prSet/>
      <dgm:spPr/>
      <dgm:t>
        <a:bodyPr/>
        <a:lstStyle/>
        <a:p>
          <a:endParaRPr lang="es-EC"/>
        </a:p>
      </dgm:t>
    </dgm:pt>
    <dgm:pt modelId="{E01EBF2D-26A0-4171-9909-A67603E074DB}">
      <dgm:prSet phldrT="[Texto]"/>
      <dgm:spPr/>
      <dgm:t>
        <a:bodyPr/>
        <a:lstStyle/>
        <a:p>
          <a:r>
            <a:rPr lang="es-ES" dirty="0"/>
            <a:t>Procesos de crecimiento</a:t>
          </a:r>
          <a:endParaRPr lang="es-EC" dirty="0"/>
        </a:p>
      </dgm:t>
    </dgm:pt>
    <dgm:pt modelId="{21DAEC47-FCAA-4D41-91A9-145854C420DD}" type="parTrans" cxnId="{4FFC6FC3-75FE-4CB2-B847-B39A25E9121A}">
      <dgm:prSet/>
      <dgm:spPr/>
      <dgm:t>
        <a:bodyPr/>
        <a:lstStyle/>
        <a:p>
          <a:endParaRPr lang="es-EC"/>
        </a:p>
      </dgm:t>
    </dgm:pt>
    <dgm:pt modelId="{737BF66B-65A3-479A-98AB-5A95F2E0D299}" type="sibTrans" cxnId="{4FFC6FC3-75FE-4CB2-B847-B39A25E9121A}">
      <dgm:prSet/>
      <dgm:spPr/>
      <dgm:t>
        <a:bodyPr/>
        <a:lstStyle/>
        <a:p>
          <a:endParaRPr lang="es-EC"/>
        </a:p>
      </dgm:t>
    </dgm:pt>
    <dgm:pt modelId="{094AEED8-5347-4542-9D2F-6C67C359CC13}">
      <dgm:prSet phldrT="[Texto]"/>
      <dgm:spPr/>
      <dgm:t>
        <a:bodyPr/>
        <a:lstStyle/>
        <a:p>
          <a:r>
            <a:rPr lang="es-ES" dirty="0"/>
            <a:t>Factor económico, socio cultural, político administrativo.</a:t>
          </a:r>
          <a:endParaRPr lang="es-EC" dirty="0"/>
        </a:p>
      </dgm:t>
    </dgm:pt>
    <dgm:pt modelId="{1D7A177E-EE39-4141-9422-16BFFFEE55C1}" type="parTrans" cxnId="{DF29558F-76E0-4AC4-96B8-6DF00708E690}">
      <dgm:prSet/>
      <dgm:spPr/>
      <dgm:t>
        <a:bodyPr/>
        <a:lstStyle/>
        <a:p>
          <a:endParaRPr lang="es-EC"/>
        </a:p>
      </dgm:t>
    </dgm:pt>
    <dgm:pt modelId="{706AFB1E-72E6-4CDF-86F8-5673D1C11774}" type="sibTrans" cxnId="{DF29558F-76E0-4AC4-96B8-6DF00708E690}">
      <dgm:prSet/>
      <dgm:spPr/>
      <dgm:t>
        <a:bodyPr/>
        <a:lstStyle/>
        <a:p>
          <a:endParaRPr lang="es-EC"/>
        </a:p>
      </dgm:t>
    </dgm:pt>
    <dgm:pt modelId="{6A98EA67-6D7E-4168-99B1-C2E099163016}" type="pres">
      <dgm:prSet presAssocID="{1082BD29-342F-4779-B1D2-B9E12F8054A7}" presName="Name0" presStyleCnt="0">
        <dgm:presLayoutVars>
          <dgm:dir/>
          <dgm:animLvl val="lvl"/>
          <dgm:resizeHandles val="exact"/>
        </dgm:presLayoutVars>
      </dgm:prSet>
      <dgm:spPr/>
    </dgm:pt>
    <dgm:pt modelId="{FBA963F0-AFF1-4E96-85AA-1132B082B5EF}" type="pres">
      <dgm:prSet presAssocID="{9E17CA72-20C2-49FF-AFFB-725873E758CF}" presName="composite" presStyleCnt="0"/>
      <dgm:spPr/>
    </dgm:pt>
    <dgm:pt modelId="{6392BB3C-0165-47D3-9E86-41C8B77666A3}" type="pres">
      <dgm:prSet presAssocID="{9E17CA72-20C2-49FF-AFFB-725873E758CF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8DDD133F-B983-447E-8924-DFD9B74135B7}" type="pres">
      <dgm:prSet presAssocID="{9E17CA72-20C2-49FF-AFFB-725873E758CF}" presName="desTx" presStyleLbl="alignAccFollowNode1" presStyleIdx="0" presStyleCnt="3">
        <dgm:presLayoutVars>
          <dgm:bulletEnabled val="1"/>
        </dgm:presLayoutVars>
      </dgm:prSet>
      <dgm:spPr/>
    </dgm:pt>
    <dgm:pt modelId="{8B9D9519-551A-4B74-BA3E-4B67277BAE84}" type="pres">
      <dgm:prSet presAssocID="{7BA6657C-1B3B-4043-9A79-40829228CB31}" presName="space" presStyleCnt="0"/>
      <dgm:spPr/>
    </dgm:pt>
    <dgm:pt modelId="{39E12FBC-F93F-4EE3-BCB6-B84455F130B0}" type="pres">
      <dgm:prSet presAssocID="{1E347604-F593-4CAC-84DC-6CD792303031}" presName="composite" presStyleCnt="0"/>
      <dgm:spPr/>
    </dgm:pt>
    <dgm:pt modelId="{6D681A34-32BA-46FD-897F-DEDD92719FD4}" type="pres">
      <dgm:prSet presAssocID="{1E347604-F593-4CAC-84DC-6CD79230303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37E0734-2664-454E-A527-BFA924C2999E}" type="pres">
      <dgm:prSet presAssocID="{1E347604-F593-4CAC-84DC-6CD792303031}" presName="desTx" presStyleLbl="alignAccFollowNode1" presStyleIdx="1" presStyleCnt="3">
        <dgm:presLayoutVars>
          <dgm:bulletEnabled val="1"/>
        </dgm:presLayoutVars>
      </dgm:prSet>
      <dgm:spPr/>
    </dgm:pt>
    <dgm:pt modelId="{CFBE342A-621C-40DB-8532-CEEA6F678706}" type="pres">
      <dgm:prSet presAssocID="{E746AF7B-8280-4F2F-B422-72DA89465A94}" presName="space" presStyleCnt="0"/>
      <dgm:spPr/>
    </dgm:pt>
    <dgm:pt modelId="{C38F1D23-DC9D-4A38-9CAC-E9F341ABBC6C}" type="pres">
      <dgm:prSet presAssocID="{97EA29A9-97A7-44C4-864F-39F27AA420EA}" presName="composite" presStyleCnt="0"/>
      <dgm:spPr/>
    </dgm:pt>
    <dgm:pt modelId="{84C6E47E-B503-45FB-AE25-DD450A244734}" type="pres">
      <dgm:prSet presAssocID="{97EA29A9-97A7-44C4-864F-39F27AA420EA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3C788717-F6DC-4953-A351-1DEDAC8B6050}" type="pres">
      <dgm:prSet presAssocID="{97EA29A9-97A7-44C4-864F-39F27AA420EA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D4FF4923-6833-4208-B720-86B7DA197F97}" srcId="{9E17CA72-20C2-49FF-AFFB-725873E758CF}" destId="{D328ABE0-623D-4995-9845-9C429397C4B9}" srcOrd="0" destOrd="0" parTransId="{E5904E85-39FF-466C-8DD8-E6507C6CDE7A}" sibTransId="{6644A419-4641-4D2E-A54B-2ABD21F8D9CB}"/>
    <dgm:cxn modelId="{9F49A336-0471-4F82-A87D-4F4641854C3C}" srcId="{1082BD29-342F-4779-B1D2-B9E12F8054A7}" destId="{9E17CA72-20C2-49FF-AFFB-725873E758CF}" srcOrd="0" destOrd="0" parTransId="{55820539-11C9-43B1-AA83-BBAF0EF1C87C}" sibTransId="{7BA6657C-1B3B-4043-9A79-40829228CB31}"/>
    <dgm:cxn modelId="{1E30B640-0503-4C7B-9EB8-23AADBC12AFC}" type="presOf" srcId="{1E347604-F593-4CAC-84DC-6CD792303031}" destId="{6D681A34-32BA-46FD-897F-DEDD92719FD4}" srcOrd="0" destOrd="0" presId="urn:microsoft.com/office/officeart/2005/8/layout/hList1"/>
    <dgm:cxn modelId="{DBDD445F-B50C-466B-8A6E-78692A665B01}" type="presOf" srcId="{97EA29A9-97A7-44C4-864F-39F27AA420EA}" destId="{84C6E47E-B503-45FB-AE25-DD450A244734}" srcOrd="0" destOrd="0" presId="urn:microsoft.com/office/officeart/2005/8/layout/hList1"/>
    <dgm:cxn modelId="{3E48A466-E3F7-47AD-A09C-E9DD5C1472A5}" type="presOf" srcId="{9E17CA72-20C2-49FF-AFFB-725873E758CF}" destId="{6392BB3C-0165-47D3-9E86-41C8B77666A3}" srcOrd="0" destOrd="0" presId="urn:microsoft.com/office/officeart/2005/8/layout/hList1"/>
    <dgm:cxn modelId="{43EED37B-6E29-43A9-BBCF-8ECE2EB35D17}" type="presOf" srcId="{9A2A0B7B-0B09-4450-A7F6-F32299CC121A}" destId="{8DDD133F-B983-447E-8924-DFD9B74135B7}" srcOrd="0" destOrd="1" presId="urn:microsoft.com/office/officeart/2005/8/layout/hList1"/>
    <dgm:cxn modelId="{E20C678F-15B4-4C1B-B7E4-497FB54388F7}" type="presOf" srcId="{D328ABE0-623D-4995-9845-9C429397C4B9}" destId="{8DDD133F-B983-447E-8924-DFD9B74135B7}" srcOrd="0" destOrd="0" presId="urn:microsoft.com/office/officeart/2005/8/layout/hList1"/>
    <dgm:cxn modelId="{DF29558F-76E0-4AC4-96B8-6DF00708E690}" srcId="{97EA29A9-97A7-44C4-864F-39F27AA420EA}" destId="{094AEED8-5347-4542-9D2F-6C67C359CC13}" srcOrd="1" destOrd="0" parTransId="{1D7A177E-EE39-4141-9422-16BFFFEE55C1}" sibTransId="{706AFB1E-72E6-4CDF-86F8-5673D1C11774}"/>
    <dgm:cxn modelId="{FE2D2391-7601-4DE2-8DE0-9F82266FEDA4}" srcId="{1082BD29-342F-4779-B1D2-B9E12F8054A7}" destId="{1E347604-F593-4CAC-84DC-6CD792303031}" srcOrd="1" destOrd="0" parTransId="{C6869CAC-6CB3-4BDE-8CAF-25C066E00544}" sibTransId="{E746AF7B-8280-4F2F-B422-72DA89465A94}"/>
    <dgm:cxn modelId="{5DA4E195-CC19-44BB-BF63-E1A59D29FCC0}" srcId="{1E347604-F593-4CAC-84DC-6CD792303031}" destId="{EF44C5B3-FD02-456C-B706-31A30C4D8033}" srcOrd="1" destOrd="0" parTransId="{DABA57B9-288F-49D3-9425-0AC018354A81}" sibTransId="{DCFA07C8-80F6-4F01-9906-BE9271776EEB}"/>
    <dgm:cxn modelId="{27B27F9A-B614-40B2-A900-DAC67CFD86DF}" srcId="{9E17CA72-20C2-49FF-AFFB-725873E758CF}" destId="{9A2A0B7B-0B09-4450-A7F6-F32299CC121A}" srcOrd="1" destOrd="0" parTransId="{B6D72F0E-8661-49F0-B40A-81B262E9B45E}" sibTransId="{73544ED6-A817-4640-A74D-DDD447B52ED0}"/>
    <dgm:cxn modelId="{B90599B1-0634-4357-8DCF-9BFF7F68AD30}" type="presOf" srcId="{E01EBF2D-26A0-4171-9909-A67603E074DB}" destId="{3C788717-F6DC-4953-A351-1DEDAC8B6050}" srcOrd="0" destOrd="0" presId="urn:microsoft.com/office/officeart/2005/8/layout/hList1"/>
    <dgm:cxn modelId="{94EEE1B5-1639-443F-B86B-F2A76B8BC017}" srcId="{1E347604-F593-4CAC-84DC-6CD792303031}" destId="{F2B2A05A-6C9E-43E5-A16A-BA1E9639DF8B}" srcOrd="0" destOrd="0" parTransId="{79AA1920-C034-486D-9DD5-17AA15604C00}" sibTransId="{1AF6C93D-44B1-4CBF-8ACB-29DAF2B377A8}"/>
    <dgm:cxn modelId="{4FFC6FC3-75FE-4CB2-B847-B39A25E9121A}" srcId="{97EA29A9-97A7-44C4-864F-39F27AA420EA}" destId="{E01EBF2D-26A0-4171-9909-A67603E074DB}" srcOrd="0" destOrd="0" parTransId="{21DAEC47-FCAA-4D41-91A9-145854C420DD}" sibTransId="{737BF66B-65A3-479A-98AB-5A95F2E0D299}"/>
    <dgm:cxn modelId="{1D86CBCC-E8C1-4EFF-B396-B1DA0F01D6BD}" type="presOf" srcId="{094AEED8-5347-4542-9D2F-6C67C359CC13}" destId="{3C788717-F6DC-4953-A351-1DEDAC8B6050}" srcOrd="0" destOrd="1" presId="urn:microsoft.com/office/officeart/2005/8/layout/hList1"/>
    <dgm:cxn modelId="{15C601CD-2CE2-460B-808F-0D9E30ECB18E}" srcId="{1082BD29-342F-4779-B1D2-B9E12F8054A7}" destId="{97EA29A9-97A7-44C4-864F-39F27AA420EA}" srcOrd="2" destOrd="0" parTransId="{7138EB56-904D-4665-B2F1-C0A600E8AFF6}" sibTransId="{A1C9C304-6A3A-4D3F-B0A6-26411E58DF74}"/>
    <dgm:cxn modelId="{A13CFCD2-D9D7-4C86-B0D3-EED8CEF6FCD1}" type="presOf" srcId="{F2B2A05A-6C9E-43E5-A16A-BA1E9639DF8B}" destId="{737E0734-2664-454E-A527-BFA924C2999E}" srcOrd="0" destOrd="0" presId="urn:microsoft.com/office/officeart/2005/8/layout/hList1"/>
    <dgm:cxn modelId="{3540E8D6-2BE5-4870-8DCD-D2D2699D7DB6}" type="presOf" srcId="{1082BD29-342F-4779-B1D2-B9E12F8054A7}" destId="{6A98EA67-6D7E-4168-99B1-C2E099163016}" srcOrd="0" destOrd="0" presId="urn:microsoft.com/office/officeart/2005/8/layout/hList1"/>
    <dgm:cxn modelId="{BDBAF9EE-C717-4B49-886B-092023848C84}" type="presOf" srcId="{EF44C5B3-FD02-456C-B706-31A30C4D8033}" destId="{737E0734-2664-454E-A527-BFA924C2999E}" srcOrd="0" destOrd="1" presId="urn:microsoft.com/office/officeart/2005/8/layout/hList1"/>
    <dgm:cxn modelId="{4B20445A-7818-4B26-89FA-C888F230EBB7}" type="presParOf" srcId="{6A98EA67-6D7E-4168-99B1-C2E099163016}" destId="{FBA963F0-AFF1-4E96-85AA-1132B082B5EF}" srcOrd="0" destOrd="0" presId="urn:microsoft.com/office/officeart/2005/8/layout/hList1"/>
    <dgm:cxn modelId="{55ED3165-BF84-435C-9A9F-D476220C0FA0}" type="presParOf" srcId="{FBA963F0-AFF1-4E96-85AA-1132B082B5EF}" destId="{6392BB3C-0165-47D3-9E86-41C8B77666A3}" srcOrd="0" destOrd="0" presId="urn:microsoft.com/office/officeart/2005/8/layout/hList1"/>
    <dgm:cxn modelId="{94812FB1-C596-444D-8799-A108CE3D6568}" type="presParOf" srcId="{FBA963F0-AFF1-4E96-85AA-1132B082B5EF}" destId="{8DDD133F-B983-447E-8924-DFD9B74135B7}" srcOrd="1" destOrd="0" presId="urn:microsoft.com/office/officeart/2005/8/layout/hList1"/>
    <dgm:cxn modelId="{36772EB2-D7CB-427A-9C2F-597DBBD3D1E7}" type="presParOf" srcId="{6A98EA67-6D7E-4168-99B1-C2E099163016}" destId="{8B9D9519-551A-4B74-BA3E-4B67277BAE84}" srcOrd="1" destOrd="0" presId="urn:microsoft.com/office/officeart/2005/8/layout/hList1"/>
    <dgm:cxn modelId="{EFEFFB6E-27B8-4EE1-A016-FA4DEA452DE0}" type="presParOf" srcId="{6A98EA67-6D7E-4168-99B1-C2E099163016}" destId="{39E12FBC-F93F-4EE3-BCB6-B84455F130B0}" srcOrd="2" destOrd="0" presId="urn:microsoft.com/office/officeart/2005/8/layout/hList1"/>
    <dgm:cxn modelId="{20F43A31-E102-4853-B364-67392AF58322}" type="presParOf" srcId="{39E12FBC-F93F-4EE3-BCB6-B84455F130B0}" destId="{6D681A34-32BA-46FD-897F-DEDD92719FD4}" srcOrd="0" destOrd="0" presId="urn:microsoft.com/office/officeart/2005/8/layout/hList1"/>
    <dgm:cxn modelId="{7227A4EE-8543-42B8-A7D4-E57B20F20C27}" type="presParOf" srcId="{39E12FBC-F93F-4EE3-BCB6-B84455F130B0}" destId="{737E0734-2664-454E-A527-BFA924C2999E}" srcOrd="1" destOrd="0" presId="urn:microsoft.com/office/officeart/2005/8/layout/hList1"/>
    <dgm:cxn modelId="{F97DF4CD-F959-474E-9F69-A9B98B44B506}" type="presParOf" srcId="{6A98EA67-6D7E-4168-99B1-C2E099163016}" destId="{CFBE342A-621C-40DB-8532-CEEA6F678706}" srcOrd="3" destOrd="0" presId="urn:microsoft.com/office/officeart/2005/8/layout/hList1"/>
    <dgm:cxn modelId="{5A532457-51C2-4483-91FD-C9DB897BD087}" type="presParOf" srcId="{6A98EA67-6D7E-4168-99B1-C2E099163016}" destId="{C38F1D23-DC9D-4A38-9CAC-E9F341ABBC6C}" srcOrd="4" destOrd="0" presId="urn:microsoft.com/office/officeart/2005/8/layout/hList1"/>
    <dgm:cxn modelId="{5490515C-7FA0-48AA-8850-CB3B40E41B5F}" type="presParOf" srcId="{C38F1D23-DC9D-4A38-9CAC-E9F341ABBC6C}" destId="{84C6E47E-B503-45FB-AE25-DD450A244734}" srcOrd="0" destOrd="0" presId="urn:microsoft.com/office/officeart/2005/8/layout/hList1"/>
    <dgm:cxn modelId="{723BAE06-DC96-4BAC-9191-A75E18B50C1A}" type="presParOf" srcId="{C38F1D23-DC9D-4A38-9CAC-E9F341ABBC6C}" destId="{3C788717-F6DC-4953-A351-1DEDAC8B605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3082075-94AC-4C65-8F97-C738E71859B3}" type="doc">
      <dgm:prSet loTypeId="urn:microsoft.com/office/officeart/2005/8/layout/radial6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8C24E86E-B9DD-4FE8-AEF3-3EED815F49DA}">
      <dgm:prSet phldrT="[Texto]" custT="1"/>
      <dgm:spPr>
        <a:solidFill>
          <a:schemeClr val="bg2">
            <a:lumMod val="75000"/>
            <a:lumOff val="25000"/>
          </a:schemeClr>
        </a:solidFill>
      </dgm:spPr>
      <dgm:t>
        <a:bodyPr/>
        <a:lstStyle/>
        <a:p>
          <a:r>
            <a:rPr lang="es-ES" sz="2000" dirty="0"/>
            <a:t>Desarrollo local</a:t>
          </a:r>
          <a:endParaRPr lang="es-EC" sz="2000" dirty="0"/>
        </a:p>
      </dgm:t>
    </dgm:pt>
    <dgm:pt modelId="{A63EEE06-A230-44C8-B4E2-FE0AC6EE32CF}" type="parTrans" cxnId="{47424186-872A-437F-8C76-53EB9F342CAC}">
      <dgm:prSet/>
      <dgm:spPr/>
      <dgm:t>
        <a:bodyPr/>
        <a:lstStyle/>
        <a:p>
          <a:endParaRPr lang="es-EC"/>
        </a:p>
      </dgm:t>
    </dgm:pt>
    <dgm:pt modelId="{AF08067A-6D33-4C34-B26F-6AD02E194D1B}" type="sibTrans" cxnId="{47424186-872A-437F-8C76-53EB9F342CAC}">
      <dgm:prSet/>
      <dgm:spPr/>
      <dgm:t>
        <a:bodyPr/>
        <a:lstStyle/>
        <a:p>
          <a:endParaRPr lang="es-EC"/>
        </a:p>
      </dgm:t>
    </dgm:pt>
    <dgm:pt modelId="{BBB9F38F-9BEC-4911-B0EE-50382735E82E}">
      <dgm:prSet phldrT="[Texto]" custT="1"/>
      <dgm:spPr/>
      <dgm:t>
        <a:bodyPr/>
        <a:lstStyle/>
        <a:p>
          <a:r>
            <a:rPr lang="es-ES" sz="1400" dirty="0"/>
            <a:t>Económico</a:t>
          </a:r>
          <a:endParaRPr lang="es-EC" sz="1400" dirty="0"/>
        </a:p>
      </dgm:t>
    </dgm:pt>
    <dgm:pt modelId="{57CE0160-DB9D-4C9E-A17F-7BC423A5E4ED}" type="parTrans" cxnId="{91E9A9C7-2259-44CD-8673-6AEEE5B94172}">
      <dgm:prSet/>
      <dgm:spPr/>
      <dgm:t>
        <a:bodyPr/>
        <a:lstStyle/>
        <a:p>
          <a:endParaRPr lang="es-EC"/>
        </a:p>
      </dgm:t>
    </dgm:pt>
    <dgm:pt modelId="{5C023334-04FB-497F-B566-86A830725F8B}" type="sibTrans" cxnId="{91E9A9C7-2259-44CD-8673-6AEEE5B94172}">
      <dgm:prSet/>
      <dgm:spPr/>
      <dgm:t>
        <a:bodyPr/>
        <a:lstStyle/>
        <a:p>
          <a:endParaRPr lang="es-EC"/>
        </a:p>
      </dgm:t>
    </dgm:pt>
    <dgm:pt modelId="{8C22393F-F8EF-4CCD-83AC-7C60D9F1ECFE}">
      <dgm:prSet phldrT="[Texto]" custT="1"/>
      <dgm:spPr/>
      <dgm:t>
        <a:bodyPr/>
        <a:lstStyle/>
        <a:p>
          <a:r>
            <a:rPr lang="es-ES" sz="1400" dirty="0"/>
            <a:t>Socio cultural</a:t>
          </a:r>
          <a:endParaRPr lang="es-EC" sz="1400" dirty="0"/>
        </a:p>
      </dgm:t>
    </dgm:pt>
    <dgm:pt modelId="{9EC962E7-0FD1-46BB-89AA-33FD3C219DAA}" type="parTrans" cxnId="{7D1FCE94-F5AD-44FA-80EA-136AF6EF00CE}">
      <dgm:prSet/>
      <dgm:spPr/>
      <dgm:t>
        <a:bodyPr/>
        <a:lstStyle/>
        <a:p>
          <a:endParaRPr lang="es-EC"/>
        </a:p>
      </dgm:t>
    </dgm:pt>
    <dgm:pt modelId="{418F924D-AD92-4CD3-A8F9-FB9A1DE9C751}" type="sibTrans" cxnId="{7D1FCE94-F5AD-44FA-80EA-136AF6EF00CE}">
      <dgm:prSet/>
      <dgm:spPr/>
      <dgm:t>
        <a:bodyPr/>
        <a:lstStyle/>
        <a:p>
          <a:endParaRPr lang="es-EC"/>
        </a:p>
      </dgm:t>
    </dgm:pt>
    <dgm:pt modelId="{D5DA10A5-9DEB-461A-8CB3-6A6D9A91B937}">
      <dgm:prSet phldrT="[Texto]" custT="1"/>
      <dgm:spPr/>
      <dgm:t>
        <a:bodyPr/>
        <a:lstStyle/>
        <a:p>
          <a:r>
            <a:rPr lang="es-ES" sz="1400" dirty="0"/>
            <a:t>Ambiental</a:t>
          </a:r>
          <a:endParaRPr lang="es-EC" sz="1400" dirty="0"/>
        </a:p>
      </dgm:t>
    </dgm:pt>
    <dgm:pt modelId="{B6CBD5F1-AD20-47F5-8D03-AB433F121526}" type="parTrans" cxnId="{E73E7660-FE23-49D2-9BF4-5B54A1E888E8}">
      <dgm:prSet/>
      <dgm:spPr/>
      <dgm:t>
        <a:bodyPr/>
        <a:lstStyle/>
        <a:p>
          <a:endParaRPr lang="es-EC"/>
        </a:p>
      </dgm:t>
    </dgm:pt>
    <dgm:pt modelId="{ACDC8645-3351-4349-9A16-ADEC4CF6CA87}" type="sibTrans" cxnId="{E73E7660-FE23-49D2-9BF4-5B54A1E888E8}">
      <dgm:prSet/>
      <dgm:spPr/>
      <dgm:t>
        <a:bodyPr/>
        <a:lstStyle/>
        <a:p>
          <a:endParaRPr lang="es-EC"/>
        </a:p>
      </dgm:t>
    </dgm:pt>
    <dgm:pt modelId="{A14056D2-F26E-47CC-AE41-FA98ECC1A47C}">
      <dgm:prSet phldrT="[Texto]" custT="1"/>
      <dgm:spPr/>
      <dgm:t>
        <a:bodyPr/>
        <a:lstStyle/>
        <a:p>
          <a:r>
            <a:rPr lang="es-ES" sz="1400" dirty="0"/>
            <a:t>Político administrativo</a:t>
          </a:r>
          <a:endParaRPr lang="es-EC" sz="1400" dirty="0"/>
        </a:p>
      </dgm:t>
    </dgm:pt>
    <dgm:pt modelId="{C605E977-A8E9-483B-9B83-35B47FB4F8E1}" type="parTrans" cxnId="{A4A24C8D-9F76-4F82-B38B-834BFE8FE5BA}">
      <dgm:prSet/>
      <dgm:spPr/>
      <dgm:t>
        <a:bodyPr/>
        <a:lstStyle/>
        <a:p>
          <a:endParaRPr lang="es-EC"/>
        </a:p>
      </dgm:t>
    </dgm:pt>
    <dgm:pt modelId="{FFC029A2-2D79-450D-8B8D-B284BC2BEE77}" type="sibTrans" cxnId="{A4A24C8D-9F76-4F82-B38B-834BFE8FE5BA}">
      <dgm:prSet/>
      <dgm:spPr/>
      <dgm:t>
        <a:bodyPr/>
        <a:lstStyle/>
        <a:p>
          <a:endParaRPr lang="es-EC"/>
        </a:p>
      </dgm:t>
    </dgm:pt>
    <dgm:pt modelId="{EAFAFC79-3E40-4AE7-B306-68101FC9231C}" type="pres">
      <dgm:prSet presAssocID="{F3082075-94AC-4C65-8F97-C738E71859B3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BF939BD2-88D7-4A47-B4CA-666A6F58B720}" type="pres">
      <dgm:prSet presAssocID="{8C24E86E-B9DD-4FE8-AEF3-3EED815F49DA}" presName="centerShape" presStyleLbl="node0" presStyleIdx="0" presStyleCnt="1" custScaleX="113535"/>
      <dgm:spPr/>
    </dgm:pt>
    <dgm:pt modelId="{B269BFD3-A91D-431A-AE89-FC848A839914}" type="pres">
      <dgm:prSet presAssocID="{BBB9F38F-9BEC-4911-B0EE-50382735E82E}" presName="node" presStyleLbl="node1" presStyleIdx="0" presStyleCnt="4" custScaleY="100259" custRadScaleRad="99988">
        <dgm:presLayoutVars>
          <dgm:bulletEnabled val="1"/>
        </dgm:presLayoutVars>
      </dgm:prSet>
      <dgm:spPr/>
    </dgm:pt>
    <dgm:pt modelId="{5FF5F268-103F-42A6-9F0D-A6CE7C916E25}" type="pres">
      <dgm:prSet presAssocID="{BBB9F38F-9BEC-4911-B0EE-50382735E82E}" presName="dummy" presStyleCnt="0"/>
      <dgm:spPr/>
    </dgm:pt>
    <dgm:pt modelId="{9EF5D9D3-374E-4FF5-9F5C-6D11DE408B5C}" type="pres">
      <dgm:prSet presAssocID="{5C023334-04FB-497F-B566-86A830725F8B}" presName="sibTrans" presStyleLbl="sibTrans2D1" presStyleIdx="0" presStyleCnt="4"/>
      <dgm:spPr/>
    </dgm:pt>
    <dgm:pt modelId="{65706B1C-0B78-4668-BE88-3D2BBE2AC8A1}" type="pres">
      <dgm:prSet presAssocID="{8C22393F-F8EF-4CCD-83AC-7C60D9F1ECFE}" presName="node" presStyleLbl="node1" presStyleIdx="1" presStyleCnt="4">
        <dgm:presLayoutVars>
          <dgm:bulletEnabled val="1"/>
        </dgm:presLayoutVars>
      </dgm:prSet>
      <dgm:spPr/>
    </dgm:pt>
    <dgm:pt modelId="{B14CBAA7-3005-4BB7-9B2F-DFF692FD16D6}" type="pres">
      <dgm:prSet presAssocID="{8C22393F-F8EF-4CCD-83AC-7C60D9F1ECFE}" presName="dummy" presStyleCnt="0"/>
      <dgm:spPr/>
    </dgm:pt>
    <dgm:pt modelId="{014A57E5-51B8-4492-896A-831CB550807C}" type="pres">
      <dgm:prSet presAssocID="{418F924D-AD92-4CD3-A8F9-FB9A1DE9C751}" presName="sibTrans" presStyleLbl="sibTrans2D1" presStyleIdx="1" presStyleCnt="4"/>
      <dgm:spPr/>
    </dgm:pt>
    <dgm:pt modelId="{A4B6AA0D-CFD0-46AF-993E-AE84248CD977}" type="pres">
      <dgm:prSet presAssocID="{D5DA10A5-9DEB-461A-8CB3-6A6D9A91B937}" presName="node" presStyleLbl="node1" presStyleIdx="2" presStyleCnt="4">
        <dgm:presLayoutVars>
          <dgm:bulletEnabled val="1"/>
        </dgm:presLayoutVars>
      </dgm:prSet>
      <dgm:spPr/>
    </dgm:pt>
    <dgm:pt modelId="{4868C3D0-8F3B-40C2-855F-DF9FD859AB61}" type="pres">
      <dgm:prSet presAssocID="{D5DA10A5-9DEB-461A-8CB3-6A6D9A91B937}" presName="dummy" presStyleCnt="0"/>
      <dgm:spPr/>
    </dgm:pt>
    <dgm:pt modelId="{38D0EA32-BC95-4366-BF22-BF63EEA0A5CF}" type="pres">
      <dgm:prSet presAssocID="{ACDC8645-3351-4349-9A16-ADEC4CF6CA87}" presName="sibTrans" presStyleLbl="sibTrans2D1" presStyleIdx="2" presStyleCnt="4"/>
      <dgm:spPr/>
    </dgm:pt>
    <dgm:pt modelId="{CE7AD3DD-664D-43D0-B2F0-FCB5375D54E1}" type="pres">
      <dgm:prSet presAssocID="{A14056D2-F26E-47CC-AE41-FA98ECC1A47C}" presName="node" presStyleLbl="node1" presStyleIdx="3" presStyleCnt="4">
        <dgm:presLayoutVars>
          <dgm:bulletEnabled val="1"/>
        </dgm:presLayoutVars>
      </dgm:prSet>
      <dgm:spPr/>
    </dgm:pt>
    <dgm:pt modelId="{3D5C63F0-3439-49EF-894B-0AFFDE052F3E}" type="pres">
      <dgm:prSet presAssocID="{A14056D2-F26E-47CC-AE41-FA98ECC1A47C}" presName="dummy" presStyleCnt="0"/>
      <dgm:spPr/>
    </dgm:pt>
    <dgm:pt modelId="{BB1A49DE-649A-4FCF-A914-BF0292BF358B}" type="pres">
      <dgm:prSet presAssocID="{FFC029A2-2D79-450D-8B8D-B284BC2BEE77}" presName="sibTrans" presStyleLbl="sibTrans2D1" presStyleIdx="3" presStyleCnt="4"/>
      <dgm:spPr/>
    </dgm:pt>
  </dgm:ptLst>
  <dgm:cxnLst>
    <dgm:cxn modelId="{4F380C16-7AEA-4919-9161-CAD340233804}" type="presOf" srcId="{BBB9F38F-9BEC-4911-B0EE-50382735E82E}" destId="{B269BFD3-A91D-431A-AE89-FC848A839914}" srcOrd="0" destOrd="0" presId="urn:microsoft.com/office/officeart/2005/8/layout/radial6"/>
    <dgm:cxn modelId="{E73E7660-FE23-49D2-9BF4-5B54A1E888E8}" srcId="{8C24E86E-B9DD-4FE8-AEF3-3EED815F49DA}" destId="{D5DA10A5-9DEB-461A-8CB3-6A6D9A91B937}" srcOrd="2" destOrd="0" parTransId="{B6CBD5F1-AD20-47F5-8D03-AB433F121526}" sibTransId="{ACDC8645-3351-4349-9A16-ADEC4CF6CA87}"/>
    <dgm:cxn modelId="{BD434B64-1C48-44C7-B2E2-198672A16414}" type="presOf" srcId="{8C24E86E-B9DD-4FE8-AEF3-3EED815F49DA}" destId="{BF939BD2-88D7-4A47-B4CA-666A6F58B720}" srcOrd="0" destOrd="0" presId="urn:microsoft.com/office/officeart/2005/8/layout/radial6"/>
    <dgm:cxn modelId="{CD243045-09C9-40D2-814F-E71C98EB641C}" type="presOf" srcId="{F3082075-94AC-4C65-8F97-C738E71859B3}" destId="{EAFAFC79-3E40-4AE7-B306-68101FC9231C}" srcOrd="0" destOrd="0" presId="urn:microsoft.com/office/officeart/2005/8/layout/radial6"/>
    <dgm:cxn modelId="{47424186-872A-437F-8C76-53EB9F342CAC}" srcId="{F3082075-94AC-4C65-8F97-C738E71859B3}" destId="{8C24E86E-B9DD-4FE8-AEF3-3EED815F49DA}" srcOrd="0" destOrd="0" parTransId="{A63EEE06-A230-44C8-B4E2-FE0AC6EE32CF}" sibTransId="{AF08067A-6D33-4C34-B26F-6AD02E194D1B}"/>
    <dgm:cxn modelId="{DCCD5687-90DB-4A1E-97D2-6F6039E962EA}" type="presOf" srcId="{5C023334-04FB-497F-B566-86A830725F8B}" destId="{9EF5D9D3-374E-4FF5-9F5C-6D11DE408B5C}" srcOrd="0" destOrd="0" presId="urn:microsoft.com/office/officeart/2005/8/layout/radial6"/>
    <dgm:cxn modelId="{A4A24C8D-9F76-4F82-B38B-834BFE8FE5BA}" srcId="{8C24E86E-B9DD-4FE8-AEF3-3EED815F49DA}" destId="{A14056D2-F26E-47CC-AE41-FA98ECC1A47C}" srcOrd="3" destOrd="0" parTransId="{C605E977-A8E9-483B-9B83-35B47FB4F8E1}" sibTransId="{FFC029A2-2D79-450D-8B8D-B284BC2BEE77}"/>
    <dgm:cxn modelId="{B3CEB393-05B6-4B28-A28C-E4F881EF5B2D}" type="presOf" srcId="{D5DA10A5-9DEB-461A-8CB3-6A6D9A91B937}" destId="{A4B6AA0D-CFD0-46AF-993E-AE84248CD977}" srcOrd="0" destOrd="0" presId="urn:microsoft.com/office/officeart/2005/8/layout/radial6"/>
    <dgm:cxn modelId="{7D1FCE94-F5AD-44FA-80EA-136AF6EF00CE}" srcId="{8C24E86E-B9DD-4FE8-AEF3-3EED815F49DA}" destId="{8C22393F-F8EF-4CCD-83AC-7C60D9F1ECFE}" srcOrd="1" destOrd="0" parTransId="{9EC962E7-0FD1-46BB-89AA-33FD3C219DAA}" sibTransId="{418F924D-AD92-4CD3-A8F9-FB9A1DE9C751}"/>
    <dgm:cxn modelId="{0D1C12A9-BC2B-40D3-97FD-A5B35DE2F4EF}" type="presOf" srcId="{A14056D2-F26E-47CC-AE41-FA98ECC1A47C}" destId="{CE7AD3DD-664D-43D0-B2F0-FCB5375D54E1}" srcOrd="0" destOrd="0" presId="urn:microsoft.com/office/officeart/2005/8/layout/radial6"/>
    <dgm:cxn modelId="{AABA9DAE-CE37-408B-B58E-4B6891B112F8}" type="presOf" srcId="{418F924D-AD92-4CD3-A8F9-FB9A1DE9C751}" destId="{014A57E5-51B8-4492-896A-831CB550807C}" srcOrd="0" destOrd="0" presId="urn:microsoft.com/office/officeart/2005/8/layout/radial6"/>
    <dgm:cxn modelId="{38D4C2C0-E141-4321-8046-78D2947D69FD}" type="presOf" srcId="{8C22393F-F8EF-4CCD-83AC-7C60D9F1ECFE}" destId="{65706B1C-0B78-4668-BE88-3D2BBE2AC8A1}" srcOrd="0" destOrd="0" presId="urn:microsoft.com/office/officeart/2005/8/layout/radial6"/>
    <dgm:cxn modelId="{91E9A9C7-2259-44CD-8673-6AEEE5B94172}" srcId="{8C24E86E-B9DD-4FE8-AEF3-3EED815F49DA}" destId="{BBB9F38F-9BEC-4911-B0EE-50382735E82E}" srcOrd="0" destOrd="0" parTransId="{57CE0160-DB9D-4C9E-A17F-7BC423A5E4ED}" sibTransId="{5C023334-04FB-497F-B566-86A830725F8B}"/>
    <dgm:cxn modelId="{C25935DA-6F41-44CC-B7E7-66B9541EF4BC}" type="presOf" srcId="{ACDC8645-3351-4349-9A16-ADEC4CF6CA87}" destId="{38D0EA32-BC95-4366-BF22-BF63EEA0A5CF}" srcOrd="0" destOrd="0" presId="urn:microsoft.com/office/officeart/2005/8/layout/radial6"/>
    <dgm:cxn modelId="{54BF93E0-D387-47C0-89EA-A6103F2087E7}" type="presOf" srcId="{FFC029A2-2D79-450D-8B8D-B284BC2BEE77}" destId="{BB1A49DE-649A-4FCF-A914-BF0292BF358B}" srcOrd="0" destOrd="0" presId="urn:microsoft.com/office/officeart/2005/8/layout/radial6"/>
    <dgm:cxn modelId="{79934FFB-D6E8-4C8D-9166-9C243B017B10}" type="presParOf" srcId="{EAFAFC79-3E40-4AE7-B306-68101FC9231C}" destId="{BF939BD2-88D7-4A47-B4CA-666A6F58B720}" srcOrd="0" destOrd="0" presId="urn:microsoft.com/office/officeart/2005/8/layout/radial6"/>
    <dgm:cxn modelId="{8FB70E4C-BE09-4E06-BE80-3724BC739918}" type="presParOf" srcId="{EAFAFC79-3E40-4AE7-B306-68101FC9231C}" destId="{B269BFD3-A91D-431A-AE89-FC848A839914}" srcOrd="1" destOrd="0" presId="urn:microsoft.com/office/officeart/2005/8/layout/radial6"/>
    <dgm:cxn modelId="{93F8F514-AD93-4AE4-ACD3-FEABE15105C5}" type="presParOf" srcId="{EAFAFC79-3E40-4AE7-B306-68101FC9231C}" destId="{5FF5F268-103F-42A6-9F0D-A6CE7C916E25}" srcOrd="2" destOrd="0" presId="urn:microsoft.com/office/officeart/2005/8/layout/radial6"/>
    <dgm:cxn modelId="{1B99BF25-7028-4CA8-A74A-DD899BAA4B37}" type="presParOf" srcId="{EAFAFC79-3E40-4AE7-B306-68101FC9231C}" destId="{9EF5D9D3-374E-4FF5-9F5C-6D11DE408B5C}" srcOrd="3" destOrd="0" presId="urn:microsoft.com/office/officeart/2005/8/layout/radial6"/>
    <dgm:cxn modelId="{3E3A84C5-9EC8-4CEC-8597-4C0432F7472D}" type="presParOf" srcId="{EAFAFC79-3E40-4AE7-B306-68101FC9231C}" destId="{65706B1C-0B78-4668-BE88-3D2BBE2AC8A1}" srcOrd="4" destOrd="0" presId="urn:microsoft.com/office/officeart/2005/8/layout/radial6"/>
    <dgm:cxn modelId="{1B8CD442-EC39-49D1-8D72-439072A091B4}" type="presParOf" srcId="{EAFAFC79-3E40-4AE7-B306-68101FC9231C}" destId="{B14CBAA7-3005-4BB7-9B2F-DFF692FD16D6}" srcOrd="5" destOrd="0" presId="urn:microsoft.com/office/officeart/2005/8/layout/radial6"/>
    <dgm:cxn modelId="{BE837249-71B8-40F6-BAF6-02FBC4C296E0}" type="presParOf" srcId="{EAFAFC79-3E40-4AE7-B306-68101FC9231C}" destId="{014A57E5-51B8-4492-896A-831CB550807C}" srcOrd="6" destOrd="0" presId="urn:microsoft.com/office/officeart/2005/8/layout/radial6"/>
    <dgm:cxn modelId="{71313F6A-2E70-4C4F-95D0-05D153995545}" type="presParOf" srcId="{EAFAFC79-3E40-4AE7-B306-68101FC9231C}" destId="{A4B6AA0D-CFD0-46AF-993E-AE84248CD977}" srcOrd="7" destOrd="0" presId="urn:microsoft.com/office/officeart/2005/8/layout/radial6"/>
    <dgm:cxn modelId="{FE291AE0-7D3A-451A-9C50-EF08DDCF0D05}" type="presParOf" srcId="{EAFAFC79-3E40-4AE7-B306-68101FC9231C}" destId="{4868C3D0-8F3B-40C2-855F-DF9FD859AB61}" srcOrd="8" destOrd="0" presId="urn:microsoft.com/office/officeart/2005/8/layout/radial6"/>
    <dgm:cxn modelId="{8778EBA1-968A-4F5F-A232-7C9EFAC8AE65}" type="presParOf" srcId="{EAFAFC79-3E40-4AE7-B306-68101FC9231C}" destId="{38D0EA32-BC95-4366-BF22-BF63EEA0A5CF}" srcOrd="9" destOrd="0" presId="urn:microsoft.com/office/officeart/2005/8/layout/radial6"/>
    <dgm:cxn modelId="{EB42B12E-73BD-486F-8374-33287C061241}" type="presParOf" srcId="{EAFAFC79-3E40-4AE7-B306-68101FC9231C}" destId="{CE7AD3DD-664D-43D0-B2F0-FCB5375D54E1}" srcOrd="10" destOrd="0" presId="urn:microsoft.com/office/officeart/2005/8/layout/radial6"/>
    <dgm:cxn modelId="{2A599333-7EE1-4F8F-9379-0DCE71C53E74}" type="presParOf" srcId="{EAFAFC79-3E40-4AE7-B306-68101FC9231C}" destId="{3D5C63F0-3439-49EF-894B-0AFFDE052F3E}" srcOrd="11" destOrd="0" presId="urn:microsoft.com/office/officeart/2005/8/layout/radial6"/>
    <dgm:cxn modelId="{C622C10C-425F-4C03-8160-9B05BB215058}" type="presParOf" srcId="{EAFAFC79-3E40-4AE7-B306-68101FC9231C}" destId="{BB1A49DE-649A-4FCF-A914-BF0292BF358B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E84A6C3-6807-470D-ACA9-EB60678AF00B}" type="doc">
      <dgm:prSet loTypeId="urn:microsoft.com/office/officeart/2005/8/layout/vList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237F239E-FB68-4A4A-820F-15A307431250}">
      <dgm:prSet phldrT="[Texto]"/>
      <dgm:spPr/>
      <dgm:t>
        <a:bodyPr/>
        <a:lstStyle/>
        <a:p>
          <a:r>
            <a:rPr lang="es-ES" dirty="0"/>
            <a:t>Samuel Pérez 2010</a:t>
          </a:r>
          <a:endParaRPr lang="es-EC" dirty="0"/>
        </a:p>
      </dgm:t>
    </dgm:pt>
    <dgm:pt modelId="{DA10C5EA-3F45-4ADE-9EB9-226853BA6080}" type="parTrans" cxnId="{F985A743-FD91-4C02-A1A1-A22E3E41A1EB}">
      <dgm:prSet/>
      <dgm:spPr/>
      <dgm:t>
        <a:bodyPr/>
        <a:lstStyle/>
        <a:p>
          <a:endParaRPr lang="es-EC"/>
        </a:p>
      </dgm:t>
    </dgm:pt>
    <dgm:pt modelId="{10608F18-EBA3-4CDD-9D88-EDB7EEFF442C}" type="sibTrans" cxnId="{F985A743-FD91-4C02-A1A1-A22E3E41A1EB}">
      <dgm:prSet/>
      <dgm:spPr/>
      <dgm:t>
        <a:bodyPr/>
        <a:lstStyle/>
        <a:p>
          <a:endParaRPr lang="es-EC"/>
        </a:p>
      </dgm:t>
    </dgm:pt>
    <dgm:pt modelId="{0E34F559-ED17-4556-A31A-100FE0ABAEE3}">
      <dgm:prSet phldrT="[Texto]"/>
      <dgm:spPr/>
      <dgm:t>
        <a:bodyPr/>
        <a:lstStyle/>
        <a:p>
          <a:r>
            <a:rPr lang="es-EC" i="1" dirty="0"/>
            <a:t>El valor estratégico del turismo rural como alternativa sostenible de desarrollo territorial rural.</a:t>
          </a:r>
          <a:endParaRPr lang="es-EC" dirty="0"/>
        </a:p>
      </dgm:t>
    </dgm:pt>
    <dgm:pt modelId="{5CEAF4C3-8021-4029-9DF4-771BA01EB29A}" type="parTrans" cxnId="{5F92DE02-C95F-4D29-AD62-464C2A6379B1}">
      <dgm:prSet/>
      <dgm:spPr/>
      <dgm:t>
        <a:bodyPr/>
        <a:lstStyle/>
        <a:p>
          <a:endParaRPr lang="es-EC"/>
        </a:p>
      </dgm:t>
    </dgm:pt>
    <dgm:pt modelId="{07D32082-9124-4C20-9424-1C45514571E1}" type="sibTrans" cxnId="{5F92DE02-C95F-4D29-AD62-464C2A6379B1}">
      <dgm:prSet/>
      <dgm:spPr/>
      <dgm:t>
        <a:bodyPr/>
        <a:lstStyle/>
        <a:p>
          <a:endParaRPr lang="es-EC"/>
        </a:p>
      </dgm:t>
    </dgm:pt>
    <dgm:pt modelId="{63E939F9-76AF-4BC1-BE46-FB3942C86FF1}">
      <dgm:prSet phldrT="[Texto]"/>
      <dgm:spPr/>
      <dgm:t>
        <a:bodyPr/>
        <a:lstStyle/>
        <a:p>
          <a:r>
            <a:rPr lang="es-ES" dirty="0"/>
            <a:t>Se basa en principios ambientales, económico, sociales, culturales y políticos que se relacionan entre sí.</a:t>
          </a:r>
          <a:endParaRPr lang="es-EC" dirty="0"/>
        </a:p>
      </dgm:t>
    </dgm:pt>
    <dgm:pt modelId="{35378206-6591-4DE5-BCA3-3C71357FB4DB}" type="parTrans" cxnId="{9C181C39-9EB4-4CD8-A36D-A71ED38E0192}">
      <dgm:prSet/>
      <dgm:spPr/>
      <dgm:t>
        <a:bodyPr/>
        <a:lstStyle/>
        <a:p>
          <a:endParaRPr lang="es-EC"/>
        </a:p>
      </dgm:t>
    </dgm:pt>
    <dgm:pt modelId="{8B5E1D00-DC82-424A-BF6D-E7DE5648E872}" type="sibTrans" cxnId="{9C181C39-9EB4-4CD8-A36D-A71ED38E0192}">
      <dgm:prSet/>
      <dgm:spPr/>
      <dgm:t>
        <a:bodyPr/>
        <a:lstStyle/>
        <a:p>
          <a:endParaRPr lang="es-EC"/>
        </a:p>
      </dgm:t>
    </dgm:pt>
    <dgm:pt modelId="{D7D9C41A-84E5-4C30-A5D4-E87B22A26D26}">
      <dgm:prSet phldrT="[Texto]"/>
      <dgm:spPr/>
      <dgm:t>
        <a:bodyPr/>
        <a:lstStyle/>
        <a:p>
          <a:r>
            <a:rPr lang="es-ES" dirty="0"/>
            <a:t>Ana Aparicio 2004</a:t>
          </a:r>
          <a:endParaRPr lang="es-EC" dirty="0"/>
        </a:p>
      </dgm:t>
    </dgm:pt>
    <dgm:pt modelId="{2FCD8B67-6DB2-4086-B793-D64999CD10C2}" type="parTrans" cxnId="{02124726-DE70-460A-8750-6F35E9B91BE7}">
      <dgm:prSet/>
      <dgm:spPr/>
      <dgm:t>
        <a:bodyPr/>
        <a:lstStyle/>
        <a:p>
          <a:endParaRPr lang="es-EC"/>
        </a:p>
      </dgm:t>
    </dgm:pt>
    <dgm:pt modelId="{57DD927D-3697-4589-944F-B15A0387814A}" type="sibTrans" cxnId="{02124726-DE70-460A-8750-6F35E9B91BE7}">
      <dgm:prSet/>
      <dgm:spPr/>
      <dgm:t>
        <a:bodyPr/>
        <a:lstStyle/>
        <a:p>
          <a:endParaRPr lang="es-EC"/>
        </a:p>
      </dgm:t>
    </dgm:pt>
    <dgm:pt modelId="{D684F02D-BC61-461F-B811-385D89BA8F13}">
      <dgm:prSet phldrT="[Texto]"/>
      <dgm:spPr/>
      <dgm:t>
        <a:bodyPr/>
        <a:lstStyle/>
        <a:p>
          <a:r>
            <a:rPr lang="es-EC" i="1" dirty="0"/>
            <a:t>El Turismo Rural: Una de las Alternativas al Desarrollo Rural en la Serranía de Cuenca</a:t>
          </a:r>
          <a:endParaRPr lang="es-EC" dirty="0"/>
        </a:p>
      </dgm:t>
    </dgm:pt>
    <dgm:pt modelId="{8D68E9F7-7995-46C4-91D9-524F6D197888}" type="parTrans" cxnId="{4343C331-9978-40A8-A4CB-3FA6601BCB85}">
      <dgm:prSet/>
      <dgm:spPr/>
      <dgm:t>
        <a:bodyPr/>
        <a:lstStyle/>
        <a:p>
          <a:endParaRPr lang="es-EC"/>
        </a:p>
      </dgm:t>
    </dgm:pt>
    <dgm:pt modelId="{E31ED0CA-14FC-45F1-8C62-128E6DEED1D0}" type="sibTrans" cxnId="{4343C331-9978-40A8-A4CB-3FA6601BCB85}">
      <dgm:prSet/>
      <dgm:spPr/>
      <dgm:t>
        <a:bodyPr/>
        <a:lstStyle/>
        <a:p>
          <a:endParaRPr lang="es-EC"/>
        </a:p>
      </dgm:t>
    </dgm:pt>
    <dgm:pt modelId="{EABDD41F-8259-4A87-904D-6331FF2D6297}">
      <dgm:prSet phldrT="[Texto]"/>
      <dgm:spPr/>
      <dgm:t>
        <a:bodyPr/>
        <a:lstStyle/>
        <a:p>
          <a:r>
            <a:rPr lang="es-ES" dirty="0"/>
            <a:t>El TR por si solo no puede ser motor de desarrollo, más si puede integrarse con las demás actividades productivas del territorio y debe basarse en principios de sostenibilidad. </a:t>
          </a:r>
          <a:endParaRPr lang="es-EC" dirty="0"/>
        </a:p>
      </dgm:t>
    </dgm:pt>
    <dgm:pt modelId="{22356F3B-3536-4558-9CE9-B09138680B95}" type="parTrans" cxnId="{5A31E7A3-46A4-4491-B6F7-FDC38DD2F559}">
      <dgm:prSet/>
      <dgm:spPr/>
      <dgm:t>
        <a:bodyPr/>
        <a:lstStyle/>
        <a:p>
          <a:endParaRPr lang="es-EC"/>
        </a:p>
      </dgm:t>
    </dgm:pt>
    <dgm:pt modelId="{86F79166-D7EA-427C-93F5-EA7B9B6B8A01}" type="sibTrans" cxnId="{5A31E7A3-46A4-4491-B6F7-FDC38DD2F559}">
      <dgm:prSet/>
      <dgm:spPr/>
      <dgm:t>
        <a:bodyPr/>
        <a:lstStyle/>
        <a:p>
          <a:endParaRPr lang="es-EC"/>
        </a:p>
      </dgm:t>
    </dgm:pt>
    <dgm:pt modelId="{4FBD43AC-9988-482D-8B6A-2C6269A049FF}">
      <dgm:prSet phldrT="[Texto]"/>
      <dgm:spPr/>
      <dgm:t>
        <a:bodyPr/>
        <a:lstStyle/>
        <a:p>
          <a:r>
            <a:rPr lang="es-ES" dirty="0"/>
            <a:t>Daniela Plaza 2013</a:t>
          </a:r>
          <a:endParaRPr lang="es-EC" dirty="0"/>
        </a:p>
      </dgm:t>
    </dgm:pt>
    <dgm:pt modelId="{658CEAF0-D55F-42E6-B0BC-BBF67612A47A}" type="parTrans" cxnId="{1D491F72-5570-45CD-B307-F30C826E06D9}">
      <dgm:prSet/>
      <dgm:spPr/>
      <dgm:t>
        <a:bodyPr/>
        <a:lstStyle/>
        <a:p>
          <a:endParaRPr lang="es-EC"/>
        </a:p>
      </dgm:t>
    </dgm:pt>
    <dgm:pt modelId="{D1B3F0EC-69C5-458D-8F7C-5B7907BDB0AB}" type="sibTrans" cxnId="{1D491F72-5570-45CD-B307-F30C826E06D9}">
      <dgm:prSet/>
      <dgm:spPr/>
      <dgm:t>
        <a:bodyPr/>
        <a:lstStyle/>
        <a:p>
          <a:endParaRPr lang="es-EC"/>
        </a:p>
      </dgm:t>
    </dgm:pt>
    <dgm:pt modelId="{2F7203D6-C2C8-4A87-8691-EAA8B858966E}">
      <dgm:prSet phldrT="[Texto]"/>
      <dgm:spPr/>
      <dgm:t>
        <a:bodyPr/>
        <a:lstStyle/>
        <a:p>
          <a:r>
            <a:rPr lang="es-EC" i="1" dirty="0"/>
            <a:t>Turismo Rural como Actividad dinamizadora del Desarrollo Local en la Comuna de Curicó</a:t>
          </a:r>
          <a:endParaRPr lang="es-EC" dirty="0"/>
        </a:p>
      </dgm:t>
    </dgm:pt>
    <dgm:pt modelId="{216A662F-E414-4062-AB29-3228D3BB642E}" type="parTrans" cxnId="{F5717807-0ABC-4D11-9407-BAC34DD3F203}">
      <dgm:prSet/>
      <dgm:spPr/>
      <dgm:t>
        <a:bodyPr/>
        <a:lstStyle/>
        <a:p>
          <a:endParaRPr lang="es-EC"/>
        </a:p>
      </dgm:t>
    </dgm:pt>
    <dgm:pt modelId="{5DFC9E94-9412-44CD-8381-3BB924D087AB}" type="sibTrans" cxnId="{F5717807-0ABC-4D11-9407-BAC34DD3F203}">
      <dgm:prSet/>
      <dgm:spPr/>
      <dgm:t>
        <a:bodyPr/>
        <a:lstStyle/>
        <a:p>
          <a:endParaRPr lang="es-EC"/>
        </a:p>
      </dgm:t>
    </dgm:pt>
    <dgm:pt modelId="{08950027-80D1-40E5-834F-F80BF4CAB539}">
      <dgm:prSet phldrT="[Texto]"/>
      <dgm:spPr/>
      <dgm:t>
        <a:bodyPr/>
        <a:lstStyle/>
        <a:p>
          <a:r>
            <a:rPr lang="es-ES" dirty="0"/>
            <a:t>Considerar al TR como un eje principal de los territorios rurales si se complementa con sus atractivos y planta turística genera mejoras en la calidad de Vida y genera diversificación productiva.</a:t>
          </a:r>
          <a:endParaRPr lang="es-EC" dirty="0"/>
        </a:p>
      </dgm:t>
    </dgm:pt>
    <dgm:pt modelId="{A4D9117A-93FD-4A2B-A32A-8BEDD6B82F06}" type="parTrans" cxnId="{721D2F3E-7765-4779-8C02-96CA1AA6229E}">
      <dgm:prSet/>
      <dgm:spPr/>
      <dgm:t>
        <a:bodyPr/>
        <a:lstStyle/>
        <a:p>
          <a:endParaRPr lang="es-EC"/>
        </a:p>
      </dgm:t>
    </dgm:pt>
    <dgm:pt modelId="{BCD2E214-8EDD-4B22-BFC6-1308B05B2277}" type="sibTrans" cxnId="{721D2F3E-7765-4779-8C02-96CA1AA6229E}">
      <dgm:prSet/>
      <dgm:spPr/>
      <dgm:t>
        <a:bodyPr/>
        <a:lstStyle/>
        <a:p>
          <a:endParaRPr lang="es-EC"/>
        </a:p>
      </dgm:t>
    </dgm:pt>
    <dgm:pt modelId="{B1C7B6CF-4C68-4C21-BE4D-A745EE064261}" type="pres">
      <dgm:prSet presAssocID="{3E84A6C3-6807-470D-ACA9-EB60678AF00B}" presName="linear" presStyleCnt="0">
        <dgm:presLayoutVars>
          <dgm:dir/>
          <dgm:resizeHandles val="exact"/>
        </dgm:presLayoutVars>
      </dgm:prSet>
      <dgm:spPr/>
    </dgm:pt>
    <dgm:pt modelId="{19B9FDAA-1036-4D16-BED9-89FDF5442A62}" type="pres">
      <dgm:prSet presAssocID="{237F239E-FB68-4A4A-820F-15A307431250}" presName="comp" presStyleCnt="0"/>
      <dgm:spPr/>
    </dgm:pt>
    <dgm:pt modelId="{C7BBB426-7925-4D55-8FB5-9E030FB9B137}" type="pres">
      <dgm:prSet presAssocID="{237F239E-FB68-4A4A-820F-15A307431250}" presName="box" presStyleLbl="node1" presStyleIdx="0" presStyleCnt="3"/>
      <dgm:spPr/>
    </dgm:pt>
    <dgm:pt modelId="{D3DF5ACC-93B1-436A-A471-D47606B76C8C}" type="pres">
      <dgm:prSet presAssocID="{237F239E-FB68-4A4A-820F-15A307431250}" presName="img" presStyleLbl="fgImgPlace1" presStyleIdx="0" presStyleCnt="3"/>
      <dgm:spPr>
        <a:blipFill rotWithShape="1">
          <a:blip xmlns:r="http://schemas.openxmlformats.org/officeDocument/2006/relationships" r:embed="rId1"/>
          <a:srcRect/>
          <a:stretch>
            <a:fillRect l="-31000" r="-31000"/>
          </a:stretch>
        </a:blipFill>
      </dgm:spPr>
    </dgm:pt>
    <dgm:pt modelId="{41D24DC6-D247-40EC-A55D-ABC9D9B5F0BD}" type="pres">
      <dgm:prSet presAssocID="{237F239E-FB68-4A4A-820F-15A307431250}" presName="text" presStyleLbl="node1" presStyleIdx="0" presStyleCnt="3">
        <dgm:presLayoutVars>
          <dgm:bulletEnabled val="1"/>
        </dgm:presLayoutVars>
      </dgm:prSet>
      <dgm:spPr/>
    </dgm:pt>
    <dgm:pt modelId="{B5E1D656-1A46-4832-BE47-45C63C5DD4BB}" type="pres">
      <dgm:prSet presAssocID="{10608F18-EBA3-4CDD-9D88-EDB7EEFF442C}" presName="spacer" presStyleCnt="0"/>
      <dgm:spPr/>
    </dgm:pt>
    <dgm:pt modelId="{792AD47C-3454-4147-A50A-5A69B65C6B96}" type="pres">
      <dgm:prSet presAssocID="{D7D9C41A-84E5-4C30-A5D4-E87B22A26D26}" presName="comp" presStyleCnt="0"/>
      <dgm:spPr/>
    </dgm:pt>
    <dgm:pt modelId="{F40AAF4B-D796-4F34-9BF8-287D73FCD071}" type="pres">
      <dgm:prSet presAssocID="{D7D9C41A-84E5-4C30-A5D4-E87B22A26D26}" presName="box" presStyleLbl="node1" presStyleIdx="1" presStyleCnt="3"/>
      <dgm:spPr/>
    </dgm:pt>
    <dgm:pt modelId="{F2EEE610-CEAD-44B9-8BF1-AE0498BE5E06}" type="pres">
      <dgm:prSet presAssocID="{D7D9C41A-84E5-4C30-A5D4-E87B22A26D26}" presName="img" presStyleLbl="fgImgPlace1" presStyleIdx="1" presStyleCnt="3"/>
      <dgm:spPr>
        <a:blipFill rotWithShape="1">
          <a:blip xmlns:r="http://schemas.openxmlformats.org/officeDocument/2006/relationships" r:embed="rId2"/>
          <a:srcRect/>
          <a:stretch>
            <a:fillRect l="-13000" r="-13000"/>
          </a:stretch>
        </a:blipFill>
      </dgm:spPr>
    </dgm:pt>
    <dgm:pt modelId="{4745ECBB-6C7D-4E61-B753-3329FCF3BA6B}" type="pres">
      <dgm:prSet presAssocID="{D7D9C41A-84E5-4C30-A5D4-E87B22A26D26}" presName="text" presStyleLbl="node1" presStyleIdx="1" presStyleCnt="3">
        <dgm:presLayoutVars>
          <dgm:bulletEnabled val="1"/>
        </dgm:presLayoutVars>
      </dgm:prSet>
      <dgm:spPr/>
    </dgm:pt>
    <dgm:pt modelId="{A07AB39C-EEA6-4C0B-AC64-AC81314A0B64}" type="pres">
      <dgm:prSet presAssocID="{57DD927D-3697-4589-944F-B15A0387814A}" presName="spacer" presStyleCnt="0"/>
      <dgm:spPr/>
    </dgm:pt>
    <dgm:pt modelId="{7CA4A39B-3768-4542-9111-1B1DF025118F}" type="pres">
      <dgm:prSet presAssocID="{4FBD43AC-9988-482D-8B6A-2C6269A049FF}" presName="comp" presStyleCnt="0"/>
      <dgm:spPr/>
    </dgm:pt>
    <dgm:pt modelId="{7AB66CB6-C4E9-4954-83B3-10CB1BACA90F}" type="pres">
      <dgm:prSet presAssocID="{4FBD43AC-9988-482D-8B6A-2C6269A049FF}" presName="box" presStyleLbl="node1" presStyleIdx="2" presStyleCnt="3"/>
      <dgm:spPr/>
    </dgm:pt>
    <dgm:pt modelId="{820F6070-149F-428B-8C66-02BDE47B5DEA}" type="pres">
      <dgm:prSet presAssocID="{4FBD43AC-9988-482D-8B6A-2C6269A049FF}" presName="img" presStyleLbl="fgImgPlace1" presStyleIdx="2" presStyleCnt="3"/>
      <dgm:spPr>
        <a:blipFill rotWithShape="1">
          <a:blip xmlns:r="http://schemas.openxmlformats.org/officeDocument/2006/relationships" r:embed="rId3"/>
          <a:srcRect/>
          <a:stretch>
            <a:fillRect l="-13000" r="-13000"/>
          </a:stretch>
        </a:blipFill>
      </dgm:spPr>
    </dgm:pt>
    <dgm:pt modelId="{F6D7E9B6-D1A5-4B94-8DA5-6DDF4D4922B4}" type="pres">
      <dgm:prSet presAssocID="{4FBD43AC-9988-482D-8B6A-2C6269A049FF}" presName="text" presStyleLbl="node1" presStyleIdx="2" presStyleCnt="3">
        <dgm:presLayoutVars>
          <dgm:bulletEnabled val="1"/>
        </dgm:presLayoutVars>
      </dgm:prSet>
      <dgm:spPr/>
    </dgm:pt>
  </dgm:ptLst>
  <dgm:cxnLst>
    <dgm:cxn modelId="{5F92DE02-C95F-4D29-AD62-464C2A6379B1}" srcId="{237F239E-FB68-4A4A-820F-15A307431250}" destId="{0E34F559-ED17-4556-A31A-100FE0ABAEE3}" srcOrd="0" destOrd="0" parTransId="{5CEAF4C3-8021-4029-9DF4-771BA01EB29A}" sibTransId="{07D32082-9124-4C20-9424-1C45514571E1}"/>
    <dgm:cxn modelId="{F5717807-0ABC-4D11-9407-BAC34DD3F203}" srcId="{4FBD43AC-9988-482D-8B6A-2C6269A049FF}" destId="{2F7203D6-C2C8-4A87-8691-EAA8B858966E}" srcOrd="0" destOrd="0" parTransId="{216A662F-E414-4062-AB29-3228D3BB642E}" sibTransId="{5DFC9E94-9412-44CD-8381-3BB924D087AB}"/>
    <dgm:cxn modelId="{26DDBD0E-ADDA-4BE0-897B-D099611F600E}" type="presOf" srcId="{D684F02D-BC61-461F-B811-385D89BA8F13}" destId="{4745ECBB-6C7D-4E61-B753-3329FCF3BA6B}" srcOrd="1" destOrd="1" presId="urn:microsoft.com/office/officeart/2005/8/layout/vList4"/>
    <dgm:cxn modelId="{00E80710-9D34-4A9C-81B7-C9C7B465B3B5}" type="presOf" srcId="{EABDD41F-8259-4A87-904D-6331FF2D6297}" destId="{F40AAF4B-D796-4F34-9BF8-287D73FCD071}" srcOrd="0" destOrd="2" presId="urn:microsoft.com/office/officeart/2005/8/layout/vList4"/>
    <dgm:cxn modelId="{840F441A-CCCE-4432-B155-669298817FC0}" type="presOf" srcId="{237F239E-FB68-4A4A-820F-15A307431250}" destId="{41D24DC6-D247-40EC-A55D-ABC9D9B5F0BD}" srcOrd="1" destOrd="0" presId="urn:microsoft.com/office/officeart/2005/8/layout/vList4"/>
    <dgm:cxn modelId="{507C9C21-186C-45ED-994C-9A0B0DD3157F}" type="presOf" srcId="{63E939F9-76AF-4BC1-BE46-FB3942C86FF1}" destId="{41D24DC6-D247-40EC-A55D-ABC9D9B5F0BD}" srcOrd="1" destOrd="2" presId="urn:microsoft.com/office/officeart/2005/8/layout/vList4"/>
    <dgm:cxn modelId="{02124726-DE70-460A-8750-6F35E9B91BE7}" srcId="{3E84A6C3-6807-470D-ACA9-EB60678AF00B}" destId="{D7D9C41A-84E5-4C30-A5D4-E87B22A26D26}" srcOrd="1" destOrd="0" parTransId="{2FCD8B67-6DB2-4086-B793-D64999CD10C2}" sibTransId="{57DD927D-3697-4589-944F-B15A0387814A}"/>
    <dgm:cxn modelId="{7D7D5528-0715-43B7-99C5-E434BCD55D6B}" type="presOf" srcId="{08950027-80D1-40E5-834F-F80BF4CAB539}" destId="{7AB66CB6-C4E9-4954-83B3-10CB1BACA90F}" srcOrd="0" destOrd="2" presId="urn:microsoft.com/office/officeart/2005/8/layout/vList4"/>
    <dgm:cxn modelId="{4343C331-9978-40A8-A4CB-3FA6601BCB85}" srcId="{D7D9C41A-84E5-4C30-A5D4-E87B22A26D26}" destId="{D684F02D-BC61-461F-B811-385D89BA8F13}" srcOrd="0" destOrd="0" parTransId="{8D68E9F7-7995-46C4-91D9-524F6D197888}" sibTransId="{E31ED0CA-14FC-45F1-8C62-128E6DEED1D0}"/>
    <dgm:cxn modelId="{9C181C39-9EB4-4CD8-A36D-A71ED38E0192}" srcId="{237F239E-FB68-4A4A-820F-15A307431250}" destId="{63E939F9-76AF-4BC1-BE46-FB3942C86FF1}" srcOrd="1" destOrd="0" parTransId="{35378206-6591-4DE5-BCA3-3C71357FB4DB}" sibTransId="{8B5E1D00-DC82-424A-BF6D-E7DE5648E872}"/>
    <dgm:cxn modelId="{721D2F3E-7765-4779-8C02-96CA1AA6229E}" srcId="{4FBD43AC-9988-482D-8B6A-2C6269A049FF}" destId="{08950027-80D1-40E5-834F-F80BF4CAB539}" srcOrd="1" destOrd="0" parTransId="{A4D9117A-93FD-4A2B-A32A-8BEDD6B82F06}" sibTransId="{BCD2E214-8EDD-4B22-BFC6-1308B05B2277}"/>
    <dgm:cxn modelId="{6DAAE93E-7CD3-4906-8054-EC4BA4861BE5}" type="presOf" srcId="{2F7203D6-C2C8-4A87-8691-EAA8B858966E}" destId="{7AB66CB6-C4E9-4954-83B3-10CB1BACA90F}" srcOrd="0" destOrd="1" presId="urn:microsoft.com/office/officeart/2005/8/layout/vList4"/>
    <dgm:cxn modelId="{F985A743-FD91-4C02-A1A1-A22E3E41A1EB}" srcId="{3E84A6C3-6807-470D-ACA9-EB60678AF00B}" destId="{237F239E-FB68-4A4A-820F-15A307431250}" srcOrd="0" destOrd="0" parTransId="{DA10C5EA-3F45-4ADE-9EB9-226853BA6080}" sibTransId="{10608F18-EBA3-4CDD-9D88-EDB7EEFF442C}"/>
    <dgm:cxn modelId="{3CE2EC64-C6FA-42EF-A405-AB01E8F4F939}" type="presOf" srcId="{63E939F9-76AF-4BC1-BE46-FB3942C86FF1}" destId="{C7BBB426-7925-4D55-8FB5-9E030FB9B137}" srcOrd="0" destOrd="2" presId="urn:microsoft.com/office/officeart/2005/8/layout/vList4"/>
    <dgm:cxn modelId="{334E8471-B850-412F-A793-5E5BB5408A6C}" type="presOf" srcId="{4FBD43AC-9988-482D-8B6A-2C6269A049FF}" destId="{7AB66CB6-C4E9-4954-83B3-10CB1BACA90F}" srcOrd="0" destOrd="0" presId="urn:microsoft.com/office/officeart/2005/8/layout/vList4"/>
    <dgm:cxn modelId="{1D491F72-5570-45CD-B307-F30C826E06D9}" srcId="{3E84A6C3-6807-470D-ACA9-EB60678AF00B}" destId="{4FBD43AC-9988-482D-8B6A-2C6269A049FF}" srcOrd="2" destOrd="0" parTransId="{658CEAF0-D55F-42E6-B0BC-BBF67612A47A}" sibTransId="{D1B3F0EC-69C5-458D-8F7C-5B7907BDB0AB}"/>
    <dgm:cxn modelId="{1B72AA72-6DEB-4304-A824-6A829E7A9E40}" type="presOf" srcId="{0E34F559-ED17-4556-A31A-100FE0ABAEE3}" destId="{41D24DC6-D247-40EC-A55D-ABC9D9B5F0BD}" srcOrd="1" destOrd="1" presId="urn:microsoft.com/office/officeart/2005/8/layout/vList4"/>
    <dgm:cxn modelId="{6AC8997A-16A5-4346-938C-5B4EA06AFFDC}" type="presOf" srcId="{D684F02D-BC61-461F-B811-385D89BA8F13}" destId="{F40AAF4B-D796-4F34-9BF8-287D73FCD071}" srcOrd="0" destOrd="1" presId="urn:microsoft.com/office/officeart/2005/8/layout/vList4"/>
    <dgm:cxn modelId="{A0867A87-B12E-4A00-9332-012CFFA1D161}" type="presOf" srcId="{3E84A6C3-6807-470D-ACA9-EB60678AF00B}" destId="{B1C7B6CF-4C68-4C21-BE4D-A745EE064261}" srcOrd="0" destOrd="0" presId="urn:microsoft.com/office/officeart/2005/8/layout/vList4"/>
    <dgm:cxn modelId="{CB7B6593-B6A9-4C88-B72C-359089280904}" type="presOf" srcId="{08950027-80D1-40E5-834F-F80BF4CAB539}" destId="{F6D7E9B6-D1A5-4B94-8DA5-6DDF4D4922B4}" srcOrd="1" destOrd="2" presId="urn:microsoft.com/office/officeart/2005/8/layout/vList4"/>
    <dgm:cxn modelId="{C65CE69A-EADC-4CAF-B5FD-DD908EDFA8E5}" type="presOf" srcId="{0E34F559-ED17-4556-A31A-100FE0ABAEE3}" destId="{C7BBB426-7925-4D55-8FB5-9E030FB9B137}" srcOrd="0" destOrd="1" presId="urn:microsoft.com/office/officeart/2005/8/layout/vList4"/>
    <dgm:cxn modelId="{5A31E7A3-46A4-4491-B6F7-FDC38DD2F559}" srcId="{D7D9C41A-84E5-4C30-A5D4-E87B22A26D26}" destId="{EABDD41F-8259-4A87-904D-6331FF2D6297}" srcOrd="1" destOrd="0" parTransId="{22356F3B-3536-4558-9CE9-B09138680B95}" sibTransId="{86F79166-D7EA-427C-93F5-EA7B9B6B8A01}"/>
    <dgm:cxn modelId="{8A29FBAA-A64B-4E67-8D94-9771E7A29FA7}" type="presOf" srcId="{D7D9C41A-84E5-4C30-A5D4-E87B22A26D26}" destId="{F40AAF4B-D796-4F34-9BF8-287D73FCD071}" srcOrd="0" destOrd="0" presId="urn:microsoft.com/office/officeart/2005/8/layout/vList4"/>
    <dgm:cxn modelId="{33C422DB-923F-4B80-92F7-98F350EDCC73}" type="presOf" srcId="{2F7203D6-C2C8-4A87-8691-EAA8B858966E}" destId="{F6D7E9B6-D1A5-4B94-8DA5-6DDF4D4922B4}" srcOrd="1" destOrd="1" presId="urn:microsoft.com/office/officeart/2005/8/layout/vList4"/>
    <dgm:cxn modelId="{0D23FCDC-642B-444A-97FB-C149A97F0418}" type="presOf" srcId="{4FBD43AC-9988-482D-8B6A-2C6269A049FF}" destId="{F6D7E9B6-D1A5-4B94-8DA5-6DDF4D4922B4}" srcOrd="1" destOrd="0" presId="urn:microsoft.com/office/officeart/2005/8/layout/vList4"/>
    <dgm:cxn modelId="{4560AEE7-7782-4B19-841E-F12E947B7277}" type="presOf" srcId="{D7D9C41A-84E5-4C30-A5D4-E87B22A26D26}" destId="{4745ECBB-6C7D-4E61-B753-3329FCF3BA6B}" srcOrd="1" destOrd="0" presId="urn:microsoft.com/office/officeart/2005/8/layout/vList4"/>
    <dgm:cxn modelId="{C4F893F4-D530-47A4-BCFA-AE8E62BBB841}" type="presOf" srcId="{237F239E-FB68-4A4A-820F-15A307431250}" destId="{C7BBB426-7925-4D55-8FB5-9E030FB9B137}" srcOrd="0" destOrd="0" presId="urn:microsoft.com/office/officeart/2005/8/layout/vList4"/>
    <dgm:cxn modelId="{DE302EFD-971F-4985-B761-F3E8C2B82190}" type="presOf" srcId="{EABDD41F-8259-4A87-904D-6331FF2D6297}" destId="{4745ECBB-6C7D-4E61-B753-3329FCF3BA6B}" srcOrd="1" destOrd="2" presId="urn:microsoft.com/office/officeart/2005/8/layout/vList4"/>
    <dgm:cxn modelId="{A5D319F9-42F4-4570-A31E-9BE97D56BF9F}" type="presParOf" srcId="{B1C7B6CF-4C68-4C21-BE4D-A745EE064261}" destId="{19B9FDAA-1036-4D16-BED9-89FDF5442A62}" srcOrd="0" destOrd="0" presId="urn:microsoft.com/office/officeart/2005/8/layout/vList4"/>
    <dgm:cxn modelId="{565A7F61-BB83-42DA-A496-C302BF8841D1}" type="presParOf" srcId="{19B9FDAA-1036-4D16-BED9-89FDF5442A62}" destId="{C7BBB426-7925-4D55-8FB5-9E030FB9B137}" srcOrd="0" destOrd="0" presId="urn:microsoft.com/office/officeart/2005/8/layout/vList4"/>
    <dgm:cxn modelId="{009F927F-42A7-419A-AD41-1801A7B352BC}" type="presParOf" srcId="{19B9FDAA-1036-4D16-BED9-89FDF5442A62}" destId="{D3DF5ACC-93B1-436A-A471-D47606B76C8C}" srcOrd="1" destOrd="0" presId="urn:microsoft.com/office/officeart/2005/8/layout/vList4"/>
    <dgm:cxn modelId="{7CB5788F-8112-4C27-9C64-75EEC757BB4A}" type="presParOf" srcId="{19B9FDAA-1036-4D16-BED9-89FDF5442A62}" destId="{41D24DC6-D247-40EC-A55D-ABC9D9B5F0BD}" srcOrd="2" destOrd="0" presId="urn:microsoft.com/office/officeart/2005/8/layout/vList4"/>
    <dgm:cxn modelId="{ABC83456-58D7-4ED7-AAD3-35F16A96DC5C}" type="presParOf" srcId="{B1C7B6CF-4C68-4C21-BE4D-A745EE064261}" destId="{B5E1D656-1A46-4832-BE47-45C63C5DD4BB}" srcOrd="1" destOrd="0" presId="urn:microsoft.com/office/officeart/2005/8/layout/vList4"/>
    <dgm:cxn modelId="{202E707B-B916-472A-90F9-0B633980074A}" type="presParOf" srcId="{B1C7B6CF-4C68-4C21-BE4D-A745EE064261}" destId="{792AD47C-3454-4147-A50A-5A69B65C6B96}" srcOrd="2" destOrd="0" presId="urn:microsoft.com/office/officeart/2005/8/layout/vList4"/>
    <dgm:cxn modelId="{38B90C74-38E4-449C-80FA-468B9DD49DA2}" type="presParOf" srcId="{792AD47C-3454-4147-A50A-5A69B65C6B96}" destId="{F40AAF4B-D796-4F34-9BF8-287D73FCD071}" srcOrd="0" destOrd="0" presId="urn:microsoft.com/office/officeart/2005/8/layout/vList4"/>
    <dgm:cxn modelId="{7A91A9EE-AE87-427C-867C-3154E1C089F0}" type="presParOf" srcId="{792AD47C-3454-4147-A50A-5A69B65C6B96}" destId="{F2EEE610-CEAD-44B9-8BF1-AE0498BE5E06}" srcOrd="1" destOrd="0" presId="urn:microsoft.com/office/officeart/2005/8/layout/vList4"/>
    <dgm:cxn modelId="{CAAB308F-784D-4AA5-914D-BFF6A0BFF411}" type="presParOf" srcId="{792AD47C-3454-4147-A50A-5A69B65C6B96}" destId="{4745ECBB-6C7D-4E61-B753-3329FCF3BA6B}" srcOrd="2" destOrd="0" presId="urn:microsoft.com/office/officeart/2005/8/layout/vList4"/>
    <dgm:cxn modelId="{39C0CD8A-2139-4EA1-8538-C99F5B713C2E}" type="presParOf" srcId="{B1C7B6CF-4C68-4C21-BE4D-A745EE064261}" destId="{A07AB39C-EEA6-4C0B-AC64-AC81314A0B64}" srcOrd="3" destOrd="0" presId="urn:microsoft.com/office/officeart/2005/8/layout/vList4"/>
    <dgm:cxn modelId="{280C067D-F2F0-44EC-BCD3-940B8D3C80FE}" type="presParOf" srcId="{B1C7B6CF-4C68-4C21-BE4D-A745EE064261}" destId="{7CA4A39B-3768-4542-9111-1B1DF025118F}" srcOrd="4" destOrd="0" presId="urn:microsoft.com/office/officeart/2005/8/layout/vList4"/>
    <dgm:cxn modelId="{42B08B46-ABC5-4990-9917-7405636136E0}" type="presParOf" srcId="{7CA4A39B-3768-4542-9111-1B1DF025118F}" destId="{7AB66CB6-C4E9-4954-83B3-10CB1BACA90F}" srcOrd="0" destOrd="0" presId="urn:microsoft.com/office/officeart/2005/8/layout/vList4"/>
    <dgm:cxn modelId="{6987D2FD-83C5-49DB-894F-3C07A1D6EA49}" type="presParOf" srcId="{7CA4A39B-3768-4542-9111-1B1DF025118F}" destId="{820F6070-149F-428B-8C66-02BDE47B5DEA}" srcOrd="1" destOrd="0" presId="urn:microsoft.com/office/officeart/2005/8/layout/vList4"/>
    <dgm:cxn modelId="{10A5D020-FCC3-440A-BD74-E0C3F84F6051}" type="presParOf" srcId="{7CA4A39B-3768-4542-9111-1B1DF025118F}" destId="{F6D7E9B6-D1A5-4B94-8DA5-6DDF4D4922B4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83ED41-8F23-4965-85DF-A9D9E409D04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C"/>
        </a:p>
      </dgm:t>
    </dgm:pt>
    <dgm:pt modelId="{F833EA96-6319-4349-AF7A-64FD94B7DAD0}">
      <dgm:prSet phldrT="[Texto]"/>
      <dgm:spPr/>
      <dgm:t>
        <a:bodyPr/>
        <a:lstStyle/>
        <a:p>
          <a:r>
            <a:rPr lang="es-ES" b="1" dirty="0">
              <a:solidFill>
                <a:schemeClr val="tx1"/>
              </a:solidFill>
            </a:rPr>
            <a:t>Constitución de la Republica del Ecuador 2008</a:t>
          </a:r>
          <a:endParaRPr lang="es-EC" b="1" dirty="0">
            <a:solidFill>
              <a:schemeClr val="tx1"/>
            </a:solidFill>
          </a:endParaRPr>
        </a:p>
      </dgm:t>
    </dgm:pt>
    <dgm:pt modelId="{5C12FCDC-1443-4346-81C3-57C49A3328F6}" type="parTrans" cxnId="{15772FEC-EB77-4A6F-A97F-059998F36457}">
      <dgm:prSet/>
      <dgm:spPr/>
      <dgm:t>
        <a:bodyPr/>
        <a:lstStyle/>
        <a:p>
          <a:endParaRPr lang="es-EC"/>
        </a:p>
      </dgm:t>
    </dgm:pt>
    <dgm:pt modelId="{3A9CFAF8-B5C0-4F91-BAB3-419AA9880747}" type="sibTrans" cxnId="{15772FEC-EB77-4A6F-A97F-059998F36457}">
      <dgm:prSet/>
      <dgm:spPr/>
      <dgm:t>
        <a:bodyPr/>
        <a:lstStyle/>
        <a:p>
          <a:endParaRPr lang="es-EC"/>
        </a:p>
      </dgm:t>
    </dgm:pt>
    <dgm:pt modelId="{6244125C-B1EA-40DC-BAC7-61CF612ED6B4}">
      <dgm:prSet phldrT="[Texto]" custT="1"/>
      <dgm:spPr/>
      <dgm:t>
        <a:bodyPr/>
        <a:lstStyle/>
        <a:p>
          <a:r>
            <a:rPr lang="es-ES" sz="1600" dirty="0"/>
            <a:t>Art. 238, 255, 267; Autonomía de los </a:t>
          </a:r>
          <a:r>
            <a:rPr lang="es-ES" sz="1600" dirty="0" err="1"/>
            <a:t>Gads</a:t>
          </a:r>
          <a:r>
            <a:rPr lang="es-ES" sz="1600" dirty="0"/>
            <a:t> y competencias. </a:t>
          </a:r>
          <a:endParaRPr lang="es-EC" sz="1600" dirty="0"/>
        </a:p>
      </dgm:t>
    </dgm:pt>
    <dgm:pt modelId="{DB19CF59-5DC1-4C1A-8DF1-3456263B6B22}" type="parTrans" cxnId="{1FC170FB-F252-482E-848E-81B717FEDD08}">
      <dgm:prSet/>
      <dgm:spPr/>
      <dgm:t>
        <a:bodyPr/>
        <a:lstStyle/>
        <a:p>
          <a:endParaRPr lang="es-EC"/>
        </a:p>
      </dgm:t>
    </dgm:pt>
    <dgm:pt modelId="{95E5CDA4-B769-4ABF-A282-9C4EFD04E3B8}" type="sibTrans" cxnId="{1FC170FB-F252-482E-848E-81B717FEDD08}">
      <dgm:prSet/>
      <dgm:spPr/>
      <dgm:t>
        <a:bodyPr/>
        <a:lstStyle/>
        <a:p>
          <a:endParaRPr lang="es-EC"/>
        </a:p>
      </dgm:t>
    </dgm:pt>
    <dgm:pt modelId="{64BA78C3-1A4C-40D2-B484-FD1EB44A9EC2}">
      <dgm:prSet phldrT="[Texto]" custT="1"/>
      <dgm:spPr/>
      <dgm:t>
        <a:bodyPr/>
        <a:lstStyle/>
        <a:p>
          <a:r>
            <a:rPr lang="es-EC" sz="1600" dirty="0"/>
            <a:t>Incentivar el desarrollo de las comunidades y proteger la biodiversidad.</a:t>
          </a:r>
        </a:p>
      </dgm:t>
    </dgm:pt>
    <dgm:pt modelId="{2A9531B8-1BF6-4067-9894-287D1A371527}" type="parTrans" cxnId="{F4FE76E9-04E7-45EF-A56D-8C4E3A5BCE2B}">
      <dgm:prSet/>
      <dgm:spPr/>
      <dgm:t>
        <a:bodyPr/>
        <a:lstStyle/>
        <a:p>
          <a:endParaRPr lang="es-EC"/>
        </a:p>
      </dgm:t>
    </dgm:pt>
    <dgm:pt modelId="{BC600A00-7439-4EA3-B199-EE3D755627CE}" type="sibTrans" cxnId="{F4FE76E9-04E7-45EF-A56D-8C4E3A5BCE2B}">
      <dgm:prSet/>
      <dgm:spPr/>
      <dgm:t>
        <a:bodyPr/>
        <a:lstStyle/>
        <a:p>
          <a:endParaRPr lang="es-EC"/>
        </a:p>
      </dgm:t>
    </dgm:pt>
    <dgm:pt modelId="{E516A80D-1729-4A83-AF9D-A714FE49939B}">
      <dgm:prSet phldrT="[Texto]"/>
      <dgm:spPr/>
      <dgm:t>
        <a:bodyPr/>
        <a:lstStyle/>
        <a:p>
          <a:r>
            <a:rPr lang="es-ES" b="1" dirty="0">
              <a:solidFill>
                <a:schemeClr val="tx1"/>
              </a:solidFill>
            </a:rPr>
            <a:t>Código orgánico de organización territorial, autonomía y descentralización </a:t>
          </a:r>
          <a:endParaRPr lang="es-EC" b="1" dirty="0">
            <a:solidFill>
              <a:schemeClr val="tx1"/>
            </a:solidFill>
          </a:endParaRPr>
        </a:p>
      </dgm:t>
    </dgm:pt>
    <dgm:pt modelId="{AF5F57C6-6AB2-4658-BBB6-88F780D4A129}" type="parTrans" cxnId="{AB01956D-6620-47C0-9BBE-A979EB5DAB7C}">
      <dgm:prSet/>
      <dgm:spPr/>
      <dgm:t>
        <a:bodyPr/>
        <a:lstStyle/>
        <a:p>
          <a:endParaRPr lang="es-EC"/>
        </a:p>
      </dgm:t>
    </dgm:pt>
    <dgm:pt modelId="{A122D1D4-7AB1-49D6-8283-84B3405E61B9}" type="sibTrans" cxnId="{AB01956D-6620-47C0-9BBE-A979EB5DAB7C}">
      <dgm:prSet/>
      <dgm:spPr/>
      <dgm:t>
        <a:bodyPr/>
        <a:lstStyle/>
        <a:p>
          <a:endParaRPr lang="es-EC"/>
        </a:p>
      </dgm:t>
    </dgm:pt>
    <dgm:pt modelId="{73D2D483-591A-4B55-A199-26F9FD398D89}">
      <dgm:prSet phldrT="[Texto]" custT="1"/>
      <dgm:spPr/>
      <dgm:t>
        <a:bodyPr/>
        <a:lstStyle/>
        <a:p>
          <a:r>
            <a:rPr lang="es-ES" sz="1600" dirty="0"/>
            <a:t>Art. 4, 65: Principios y funciones de los </a:t>
          </a:r>
          <a:r>
            <a:rPr lang="es-ES" sz="1600" dirty="0" err="1"/>
            <a:t>Gads</a:t>
          </a:r>
          <a:endParaRPr lang="es-EC" sz="1600" dirty="0"/>
        </a:p>
      </dgm:t>
    </dgm:pt>
    <dgm:pt modelId="{AF9A7E3E-A418-43A7-BAF6-CEF4D1C1A044}" type="parTrans" cxnId="{2AA3E83E-26FC-4DFA-99D6-1005C9B45BD6}">
      <dgm:prSet/>
      <dgm:spPr/>
      <dgm:t>
        <a:bodyPr/>
        <a:lstStyle/>
        <a:p>
          <a:endParaRPr lang="es-EC"/>
        </a:p>
      </dgm:t>
    </dgm:pt>
    <dgm:pt modelId="{1557F2DD-F6BF-45E3-BFD0-A0CE90937B54}" type="sibTrans" cxnId="{2AA3E83E-26FC-4DFA-99D6-1005C9B45BD6}">
      <dgm:prSet/>
      <dgm:spPr/>
      <dgm:t>
        <a:bodyPr/>
        <a:lstStyle/>
        <a:p>
          <a:endParaRPr lang="es-EC"/>
        </a:p>
      </dgm:t>
    </dgm:pt>
    <dgm:pt modelId="{3B6F2560-18C9-4FD1-8C5D-21D7244E5185}">
      <dgm:prSet phldrT="[Texto]" custT="1"/>
      <dgm:spPr/>
      <dgm:t>
        <a:bodyPr/>
        <a:lstStyle/>
        <a:p>
          <a:r>
            <a:rPr lang="es-EC" sz="1600" dirty="0"/>
            <a:t>El desarrollo planificado participativamente para transformar la realidad y el impulso de la economía</a:t>
          </a:r>
        </a:p>
      </dgm:t>
    </dgm:pt>
    <dgm:pt modelId="{C728F7B7-2734-41F1-9C6C-0EA2D7E99F6F}" type="parTrans" cxnId="{89754D4C-0B66-43A8-B8C5-9FFA724E8A54}">
      <dgm:prSet/>
      <dgm:spPr/>
      <dgm:t>
        <a:bodyPr/>
        <a:lstStyle/>
        <a:p>
          <a:endParaRPr lang="es-EC"/>
        </a:p>
      </dgm:t>
    </dgm:pt>
    <dgm:pt modelId="{F6BC6844-3B61-41C2-9CCD-C809BEFE446C}" type="sibTrans" cxnId="{89754D4C-0B66-43A8-B8C5-9FFA724E8A54}">
      <dgm:prSet/>
      <dgm:spPr/>
      <dgm:t>
        <a:bodyPr/>
        <a:lstStyle/>
        <a:p>
          <a:endParaRPr lang="es-EC"/>
        </a:p>
      </dgm:t>
    </dgm:pt>
    <dgm:pt modelId="{08467EC9-39D9-4C91-8E44-A64C265F4CAD}">
      <dgm:prSet phldrT="[Texto]"/>
      <dgm:spPr/>
      <dgm:t>
        <a:bodyPr/>
        <a:lstStyle/>
        <a:p>
          <a:r>
            <a:rPr lang="es-ES" b="1" dirty="0">
              <a:solidFill>
                <a:schemeClr val="tx1"/>
              </a:solidFill>
            </a:rPr>
            <a:t>Ley de Turismo </a:t>
          </a:r>
          <a:endParaRPr lang="es-EC" b="1" dirty="0">
            <a:solidFill>
              <a:schemeClr val="tx1"/>
            </a:solidFill>
          </a:endParaRPr>
        </a:p>
      </dgm:t>
    </dgm:pt>
    <dgm:pt modelId="{D11AD52A-8898-4BEF-85E2-9DA5ED6732C1}" type="parTrans" cxnId="{9E272CCB-D83C-4860-B24D-2B02E9863AFD}">
      <dgm:prSet/>
      <dgm:spPr/>
      <dgm:t>
        <a:bodyPr/>
        <a:lstStyle/>
        <a:p>
          <a:endParaRPr lang="es-EC"/>
        </a:p>
      </dgm:t>
    </dgm:pt>
    <dgm:pt modelId="{E6ECDFF4-4BD4-4E02-943D-37ACE74F32E2}" type="sibTrans" cxnId="{9E272CCB-D83C-4860-B24D-2B02E9863AFD}">
      <dgm:prSet/>
      <dgm:spPr/>
      <dgm:t>
        <a:bodyPr/>
        <a:lstStyle/>
        <a:p>
          <a:endParaRPr lang="es-EC"/>
        </a:p>
      </dgm:t>
    </dgm:pt>
    <dgm:pt modelId="{F0C7B664-FAD9-4477-99E9-7B5267EAD46C}">
      <dgm:prSet phldrT="[Texto]" custT="1"/>
      <dgm:spPr/>
      <dgm:t>
        <a:bodyPr/>
        <a:lstStyle/>
        <a:p>
          <a:r>
            <a:rPr lang="es-ES" sz="1600" dirty="0"/>
            <a:t>Art. 12 y 15; Actividades turísticas y MINTUR.</a:t>
          </a:r>
          <a:endParaRPr lang="es-EC" sz="1600" dirty="0"/>
        </a:p>
      </dgm:t>
    </dgm:pt>
    <dgm:pt modelId="{AE8B1D52-5F9D-432F-9276-CC8AB2A56F74}" type="parTrans" cxnId="{30343A3E-1B73-4C55-9D97-535F3F862223}">
      <dgm:prSet/>
      <dgm:spPr/>
      <dgm:t>
        <a:bodyPr/>
        <a:lstStyle/>
        <a:p>
          <a:endParaRPr lang="es-EC"/>
        </a:p>
      </dgm:t>
    </dgm:pt>
    <dgm:pt modelId="{30DAFBF2-0C4A-4DA8-AFD1-C0DD2D941367}" type="sibTrans" cxnId="{30343A3E-1B73-4C55-9D97-535F3F862223}">
      <dgm:prSet/>
      <dgm:spPr/>
      <dgm:t>
        <a:bodyPr/>
        <a:lstStyle/>
        <a:p>
          <a:endParaRPr lang="es-EC"/>
        </a:p>
      </dgm:t>
    </dgm:pt>
    <dgm:pt modelId="{805BC748-0A6E-4249-AC5F-0FBB07EBD4E6}">
      <dgm:prSet phldrT="[Texto]" custT="1"/>
      <dgm:spPr/>
      <dgm:t>
        <a:bodyPr/>
        <a:lstStyle/>
        <a:p>
          <a:r>
            <a:rPr lang="es-ES" sz="1600" dirty="0"/>
            <a:t>El </a:t>
          </a:r>
          <a:r>
            <a:rPr lang="es-ES" sz="1600" dirty="0" err="1"/>
            <a:t>Mintur</a:t>
          </a:r>
          <a:r>
            <a:rPr lang="es-ES" sz="1600" dirty="0"/>
            <a:t> deberá prestar las facilidades a las comunidades para su inserción en la actividad turística. </a:t>
          </a:r>
          <a:endParaRPr lang="es-EC" sz="1600" dirty="0"/>
        </a:p>
      </dgm:t>
    </dgm:pt>
    <dgm:pt modelId="{13501AF4-6252-4357-81BC-B4FFCC5AFD33}" type="parTrans" cxnId="{67006107-956D-4D5B-A915-4B16ECCD112B}">
      <dgm:prSet/>
      <dgm:spPr/>
      <dgm:t>
        <a:bodyPr/>
        <a:lstStyle/>
        <a:p>
          <a:endParaRPr lang="es-EC"/>
        </a:p>
      </dgm:t>
    </dgm:pt>
    <dgm:pt modelId="{A86C037F-B5D4-46A4-AB30-665D104BCE8F}" type="sibTrans" cxnId="{67006107-956D-4D5B-A915-4B16ECCD112B}">
      <dgm:prSet/>
      <dgm:spPr/>
      <dgm:t>
        <a:bodyPr/>
        <a:lstStyle/>
        <a:p>
          <a:endParaRPr lang="es-EC"/>
        </a:p>
      </dgm:t>
    </dgm:pt>
    <dgm:pt modelId="{5923A1C0-10F8-4542-B9A6-881FA1ED7606}" type="pres">
      <dgm:prSet presAssocID="{D883ED41-8F23-4965-85DF-A9D9E409D040}" presName="Name0" presStyleCnt="0">
        <dgm:presLayoutVars>
          <dgm:dir/>
          <dgm:animLvl val="lvl"/>
          <dgm:resizeHandles val="exact"/>
        </dgm:presLayoutVars>
      </dgm:prSet>
      <dgm:spPr/>
    </dgm:pt>
    <dgm:pt modelId="{A513C3CE-2925-400C-919E-0215EB25DD2C}" type="pres">
      <dgm:prSet presAssocID="{F833EA96-6319-4349-AF7A-64FD94B7DAD0}" presName="composite" presStyleCnt="0"/>
      <dgm:spPr/>
    </dgm:pt>
    <dgm:pt modelId="{32FD0CB4-7DFE-4B11-81E6-5EC5D6511E54}" type="pres">
      <dgm:prSet presAssocID="{F833EA96-6319-4349-AF7A-64FD94B7DAD0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D92A5745-F004-4C00-909B-0C413DAA1837}" type="pres">
      <dgm:prSet presAssocID="{F833EA96-6319-4349-AF7A-64FD94B7DAD0}" presName="desTx" presStyleLbl="alignAccFollowNode1" presStyleIdx="0" presStyleCnt="3">
        <dgm:presLayoutVars>
          <dgm:bulletEnabled val="1"/>
        </dgm:presLayoutVars>
      </dgm:prSet>
      <dgm:spPr/>
    </dgm:pt>
    <dgm:pt modelId="{AE09967F-65E9-4FAA-930F-45373FC6FC72}" type="pres">
      <dgm:prSet presAssocID="{3A9CFAF8-B5C0-4F91-BAB3-419AA9880747}" presName="space" presStyleCnt="0"/>
      <dgm:spPr/>
    </dgm:pt>
    <dgm:pt modelId="{15E46053-2EB0-422D-A6C6-985631863610}" type="pres">
      <dgm:prSet presAssocID="{E516A80D-1729-4A83-AF9D-A714FE49939B}" presName="composite" presStyleCnt="0"/>
      <dgm:spPr/>
    </dgm:pt>
    <dgm:pt modelId="{914DE455-DDC4-44B8-8959-165B4EF0719C}" type="pres">
      <dgm:prSet presAssocID="{E516A80D-1729-4A83-AF9D-A714FE49939B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870F882F-FF3B-4D65-AA62-5FC9ED027250}" type="pres">
      <dgm:prSet presAssocID="{E516A80D-1729-4A83-AF9D-A714FE49939B}" presName="desTx" presStyleLbl="alignAccFollowNode1" presStyleIdx="1" presStyleCnt="3">
        <dgm:presLayoutVars>
          <dgm:bulletEnabled val="1"/>
        </dgm:presLayoutVars>
      </dgm:prSet>
      <dgm:spPr/>
    </dgm:pt>
    <dgm:pt modelId="{3B8889A7-A425-49C2-B2C0-D58646630792}" type="pres">
      <dgm:prSet presAssocID="{A122D1D4-7AB1-49D6-8283-84B3405E61B9}" presName="space" presStyleCnt="0"/>
      <dgm:spPr/>
    </dgm:pt>
    <dgm:pt modelId="{8097D33A-4B3C-44AB-B96F-3401F0DD569D}" type="pres">
      <dgm:prSet presAssocID="{08467EC9-39D9-4C91-8E44-A64C265F4CAD}" presName="composite" presStyleCnt="0"/>
      <dgm:spPr/>
    </dgm:pt>
    <dgm:pt modelId="{0202B011-59D7-4565-9A72-A47417F25A31}" type="pres">
      <dgm:prSet presAssocID="{08467EC9-39D9-4C91-8E44-A64C265F4C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ACFCF2E8-67AA-4EE4-94AE-12E7839F34FC}" type="pres">
      <dgm:prSet presAssocID="{08467EC9-39D9-4C91-8E44-A64C265F4C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67006107-956D-4D5B-A915-4B16ECCD112B}" srcId="{08467EC9-39D9-4C91-8E44-A64C265F4CAD}" destId="{805BC748-0A6E-4249-AC5F-0FBB07EBD4E6}" srcOrd="1" destOrd="0" parTransId="{13501AF4-6252-4357-81BC-B4FFCC5AFD33}" sibTransId="{A86C037F-B5D4-46A4-AB30-665D104BCE8F}"/>
    <dgm:cxn modelId="{5E594C07-7E1C-45FE-8FEF-CD8F946465E1}" type="presOf" srcId="{64BA78C3-1A4C-40D2-B484-FD1EB44A9EC2}" destId="{D92A5745-F004-4C00-909B-0C413DAA1837}" srcOrd="0" destOrd="1" presId="urn:microsoft.com/office/officeart/2005/8/layout/hList1"/>
    <dgm:cxn modelId="{2A174A31-EF4E-475C-8CE2-DF709837B316}" type="presOf" srcId="{73D2D483-591A-4B55-A199-26F9FD398D89}" destId="{870F882F-FF3B-4D65-AA62-5FC9ED027250}" srcOrd="0" destOrd="0" presId="urn:microsoft.com/office/officeart/2005/8/layout/hList1"/>
    <dgm:cxn modelId="{E107D23D-2C32-4111-8F4D-FA76ABA94A52}" type="presOf" srcId="{F833EA96-6319-4349-AF7A-64FD94B7DAD0}" destId="{32FD0CB4-7DFE-4B11-81E6-5EC5D6511E54}" srcOrd="0" destOrd="0" presId="urn:microsoft.com/office/officeart/2005/8/layout/hList1"/>
    <dgm:cxn modelId="{30343A3E-1B73-4C55-9D97-535F3F862223}" srcId="{08467EC9-39D9-4C91-8E44-A64C265F4CAD}" destId="{F0C7B664-FAD9-4477-99E9-7B5267EAD46C}" srcOrd="0" destOrd="0" parTransId="{AE8B1D52-5F9D-432F-9276-CC8AB2A56F74}" sibTransId="{30DAFBF2-0C4A-4DA8-AFD1-C0DD2D941367}"/>
    <dgm:cxn modelId="{2AA3E83E-26FC-4DFA-99D6-1005C9B45BD6}" srcId="{E516A80D-1729-4A83-AF9D-A714FE49939B}" destId="{73D2D483-591A-4B55-A199-26F9FD398D89}" srcOrd="0" destOrd="0" parTransId="{AF9A7E3E-A418-43A7-BAF6-CEF4D1C1A044}" sibTransId="{1557F2DD-F6BF-45E3-BFD0-A0CE90937B54}"/>
    <dgm:cxn modelId="{89754D4C-0B66-43A8-B8C5-9FFA724E8A54}" srcId="{E516A80D-1729-4A83-AF9D-A714FE49939B}" destId="{3B6F2560-18C9-4FD1-8C5D-21D7244E5185}" srcOrd="1" destOrd="0" parTransId="{C728F7B7-2734-41F1-9C6C-0EA2D7E99F6F}" sibTransId="{F6BC6844-3B61-41C2-9CCD-C809BEFE446C}"/>
    <dgm:cxn modelId="{A1E6A54C-9478-483B-A5F7-00883AE8BF27}" type="presOf" srcId="{08467EC9-39D9-4C91-8E44-A64C265F4CAD}" destId="{0202B011-59D7-4565-9A72-A47417F25A31}" srcOrd="0" destOrd="0" presId="urn:microsoft.com/office/officeart/2005/8/layout/hList1"/>
    <dgm:cxn modelId="{AB01956D-6620-47C0-9BBE-A979EB5DAB7C}" srcId="{D883ED41-8F23-4965-85DF-A9D9E409D040}" destId="{E516A80D-1729-4A83-AF9D-A714FE49939B}" srcOrd="1" destOrd="0" parTransId="{AF5F57C6-6AB2-4658-BBB6-88F780D4A129}" sibTransId="{A122D1D4-7AB1-49D6-8283-84B3405E61B9}"/>
    <dgm:cxn modelId="{E76BAC91-8C09-458F-A42B-48561E572889}" type="presOf" srcId="{F0C7B664-FAD9-4477-99E9-7B5267EAD46C}" destId="{ACFCF2E8-67AA-4EE4-94AE-12E7839F34FC}" srcOrd="0" destOrd="0" presId="urn:microsoft.com/office/officeart/2005/8/layout/hList1"/>
    <dgm:cxn modelId="{166D36A4-3E80-4B0F-B8C8-7BC4810BF84C}" type="presOf" srcId="{E516A80D-1729-4A83-AF9D-A714FE49939B}" destId="{914DE455-DDC4-44B8-8959-165B4EF0719C}" srcOrd="0" destOrd="0" presId="urn:microsoft.com/office/officeart/2005/8/layout/hList1"/>
    <dgm:cxn modelId="{9E272CCB-D83C-4860-B24D-2B02E9863AFD}" srcId="{D883ED41-8F23-4965-85DF-A9D9E409D040}" destId="{08467EC9-39D9-4C91-8E44-A64C265F4CAD}" srcOrd="2" destOrd="0" parTransId="{D11AD52A-8898-4BEF-85E2-9DA5ED6732C1}" sibTransId="{E6ECDFF4-4BD4-4E02-943D-37ACE74F32E2}"/>
    <dgm:cxn modelId="{3FEBEBDD-8B24-4D7C-83AD-81150EF477F1}" type="presOf" srcId="{6244125C-B1EA-40DC-BAC7-61CF612ED6B4}" destId="{D92A5745-F004-4C00-909B-0C413DAA1837}" srcOrd="0" destOrd="0" presId="urn:microsoft.com/office/officeart/2005/8/layout/hList1"/>
    <dgm:cxn modelId="{163345DE-B83C-4A24-B4EE-F292F1D3CE9E}" type="presOf" srcId="{D883ED41-8F23-4965-85DF-A9D9E409D040}" destId="{5923A1C0-10F8-4542-B9A6-881FA1ED7606}" srcOrd="0" destOrd="0" presId="urn:microsoft.com/office/officeart/2005/8/layout/hList1"/>
    <dgm:cxn modelId="{7D296DE9-9FE4-4B88-B65D-60B9E7F58EF3}" type="presOf" srcId="{3B6F2560-18C9-4FD1-8C5D-21D7244E5185}" destId="{870F882F-FF3B-4D65-AA62-5FC9ED027250}" srcOrd="0" destOrd="1" presId="urn:microsoft.com/office/officeart/2005/8/layout/hList1"/>
    <dgm:cxn modelId="{F4FE76E9-04E7-45EF-A56D-8C4E3A5BCE2B}" srcId="{F833EA96-6319-4349-AF7A-64FD94B7DAD0}" destId="{64BA78C3-1A4C-40D2-B484-FD1EB44A9EC2}" srcOrd="1" destOrd="0" parTransId="{2A9531B8-1BF6-4067-9894-287D1A371527}" sibTransId="{BC600A00-7439-4EA3-B199-EE3D755627CE}"/>
    <dgm:cxn modelId="{15772FEC-EB77-4A6F-A97F-059998F36457}" srcId="{D883ED41-8F23-4965-85DF-A9D9E409D040}" destId="{F833EA96-6319-4349-AF7A-64FD94B7DAD0}" srcOrd="0" destOrd="0" parTransId="{5C12FCDC-1443-4346-81C3-57C49A3328F6}" sibTransId="{3A9CFAF8-B5C0-4F91-BAB3-419AA9880747}"/>
    <dgm:cxn modelId="{7EE70CF1-ED6C-4FC2-813D-AD0D28821C0B}" type="presOf" srcId="{805BC748-0A6E-4249-AC5F-0FBB07EBD4E6}" destId="{ACFCF2E8-67AA-4EE4-94AE-12E7839F34FC}" srcOrd="0" destOrd="1" presId="urn:microsoft.com/office/officeart/2005/8/layout/hList1"/>
    <dgm:cxn modelId="{1FC170FB-F252-482E-848E-81B717FEDD08}" srcId="{F833EA96-6319-4349-AF7A-64FD94B7DAD0}" destId="{6244125C-B1EA-40DC-BAC7-61CF612ED6B4}" srcOrd="0" destOrd="0" parTransId="{DB19CF59-5DC1-4C1A-8DF1-3456263B6B22}" sibTransId="{95E5CDA4-B769-4ABF-A282-9C4EFD04E3B8}"/>
    <dgm:cxn modelId="{ACB3CB02-A41C-46B2-BA69-95356C3B47C5}" type="presParOf" srcId="{5923A1C0-10F8-4542-B9A6-881FA1ED7606}" destId="{A513C3CE-2925-400C-919E-0215EB25DD2C}" srcOrd="0" destOrd="0" presId="urn:microsoft.com/office/officeart/2005/8/layout/hList1"/>
    <dgm:cxn modelId="{0B71DBA5-62F7-45FF-ABE5-B79DA4BD7334}" type="presParOf" srcId="{A513C3CE-2925-400C-919E-0215EB25DD2C}" destId="{32FD0CB4-7DFE-4B11-81E6-5EC5D6511E54}" srcOrd="0" destOrd="0" presId="urn:microsoft.com/office/officeart/2005/8/layout/hList1"/>
    <dgm:cxn modelId="{B4E4BD8A-75A5-421E-AD5C-148B95340AEB}" type="presParOf" srcId="{A513C3CE-2925-400C-919E-0215EB25DD2C}" destId="{D92A5745-F004-4C00-909B-0C413DAA1837}" srcOrd="1" destOrd="0" presId="urn:microsoft.com/office/officeart/2005/8/layout/hList1"/>
    <dgm:cxn modelId="{D3CBCCEB-F0BF-4E75-92FB-319C5D268F76}" type="presParOf" srcId="{5923A1C0-10F8-4542-B9A6-881FA1ED7606}" destId="{AE09967F-65E9-4FAA-930F-45373FC6FC72}" srcOrd="1" destOrd="0" presId="urn:microsoft.com/office/officeart/2005/8/layout/hList1"/>
    <dgm:cxn modelId="{FCF9F90B-0254-4924-92B2-D329F26DCDAC}" type="presParOf" srcId="{5923A1C0-10F8-4542-B9A6-881FA1ED7606}" destId="{15E46053-2EB0-422D-A6C6-985631863610}" srcOrd="2" destOrd="0" presId="urn:microsoft.com/office/officeart/2005/8/layout/hList1"/>
    <dgm:cxn modelId="{B8A05841-DC5A-41AA-82B1-10E5BB1EB8DE}" type="presParOf" srcId="{15E46053-2EB0-422D-A6C6-985631863610}" destId="{914DE455-DDC4-44B8-8959-165B4EF0719C}" srcOrd="0" destOrd="0" presId="urn:microsoft.com/office/officeart/2005/8/layout/hList1"/>
    <dgm:cxn modelId="{A1E6A6EF-30F8-4F4A-ADFD-5ECD815AA662}" type="presParOf" srcId="{15E46053-2EB0-422D-A6C6-985631863610}" destId="{870F882F-FF3B-4D65-AA62-5FC9ED027250}" srcOrd="1" destOrd="0" presId="urn:microsoft.com/office/officeart/2005/8/layout/hList1"/>
    <dgm:cxn modelId="{A429448C-A5C1-4E78-AAB4-29B72F7DC8B2}" type="presParOf" srcId="{5923A1C0-10F8-4542-B9A6-881FA1ED7606}" destId="{3B8889A7-A425-49C2-B2C0-D58646630792}" srcOrd="3" destOrd="0" presId="urn:microsoft.com/office/officeart/2005/8/layout/hList1"/>
    <dgm:cxn modelId="{A6AEF208-8236-4AE5-A7C3-582E3BD05363}" type="presParOf" srcId="{5923A1C0-10F8-4542-B9A6-881FA1ED7606}" destId="{8097D33A-4B3C-44AB-B96F-3401F0DD569D}" srcOrd="4" destOrd="0" presId="urn:microsoft.com/office/officeart/2005/8/layout/hList1"/>
    <dgm:cxn modelId="{F5BA39E5-01E3-40E7-9716-F618B9342E55}" type="presParOf" srcId="{8097D33A-4B3C-44AB-B96F-3401F0DD569D}" destId="{0202B011-59D7-4565-9A72-A47417F25A31}" srcOrd="0" destOrd="0" presId="urn:microsoft.com/office/officeart/2005/8/layout/hList1"/>
    <dgm:cxn modelId="{D7AD73E5-4278-474E-B2B3-1644FD6EE2FE}" type="presParOf" srcId="{8097D33A-4B3C-44AB-B96F-3401F0DD569D}" destId="{ACFCF2E8-67AA-4EE4-94AE-12E7839F34F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5A950FD-D831-4772-B2A0-52ABF6C573A6}" type="doc">
      <dgm:prSet loTypeId="urn:microsoft.com/office/officeart/2005/8/layout/gear1" loCatId="cycle" qsTypeId="urn:microsoft.com/office/officeart/2005/8/quickstyle/simple1" qsCatId="simple" csTypeId="urn:microsoft.com/office/officeart/2005/8/colors/accent0_2" csCatId="mainScheme" phldr="1"/>
      <dgm:spPr/>
    </dgm:pt>
    <dgm:pt modelId="{36237B62-89FB-491A-81FC-59F19E8CACB2}">
      <dgm:prSet phldrT="[Texto]" custT="1"/>
      <dgm:spPr/>
      <dgm:t>
        <a:bodyPr/>
        <a:lstStyle/>
        <a:p>
          <a:r>
            <a:rPr lang="es-EC" sz="1400" dirty="0">
              <a:latin typeface="+mj-lt"/>
            </a:rPr>
            <a:t>Necesidades</a:t>
          </a:r>
        </a:p>
        <a:p>
          <a:r>
            <a:rPr lang="es-EC" sz="1400" dirty="0"/>
            <a:t>Bajo presupuesto</a:t>
          </a:r>
        </a:p>
        <a:p>
          <a:r>
            <a:rPr lang="es-EC" sz="1400" dirty="0"/>
            <a:t>Capacitación técnica</a:t>
          </a:r>
        </a:p>
        <a:p>
          <a:r>
            <a:rPr lang="es-EC" sz="1400" dirty="0"/>
            <a:t>Red vial</a:t>
          </a:r>
        </a:p>
        <a:p>
          <a:endParaRPr lang="es-EC" sz="1400" dirty="0"/>
        </a:p>
      </dgm:t>
    </dgm:pt>
    <dgm:pt modelId="{A22ED0D4-B992-493E-ACAC-DC89419655FB}" type="parTrans" cxnId="{22714BEC-F42D-45D7-AEE9-05E0DE33A717}">
      <dgm:prSet/>
      <dgm:spPr/>
      <dgm:t>
        <a:bodyPr/>
        <a:lstStyle/>
        <a:p>
          <a:endParaRPr lang="es-EC"/>
        </a:p>
      </dgm:t>
    </dgm:pt>
    <dgm:pt modelId="{52B881B3-3902-4870-807A-8A6EAD11F19B}" type="sibTrans" cxnId="{22714BEC-F42D-45D7-AEE9-05E0DE33A717}">
      <dgm:prSet/>
      <dgm:spPr/>
      <dgm:t>
        <a:bodyPr/>
        <a:lstStyle/>
        <a:p>
          <a:endParaRPr lang="es-EC"/>
        </a:p>
      </dgm:t>
    </dgm:pt>
    <dgm:pt modelId="{A0193E67-2477-4A26-9C4D-75247910C131}">
      <dgm:prSet phldrT="[Texto]"/>
      <dgm:spPr/>
      <dgm:t>
        <a:bodyPr/>
        <a:lstStyle/>
        <a:p>
          <a:r>
            <a:rPr lang="es-EC" dirty="0"/>
            <a:t>Generación de nuevos proyectos para el desarrollo del turismo</a:t>
          </a:r>
        </a:p>
      </dgm:t>
    </dgm:pt>
    <dgm:pt modelId="{CDE73121-86A7-47F8-ADFB-D6751B495ACF}" type="parTrans" cxnId="{8C9B2574-6B89-4871-8B8E-071B017B3DD2}">
      <dgm:prSet/>
      <dgm:spPr/>
      <dgm:t>
        <a:bodyPr/>
        <a:lstStyle/>
        <a:p>
          <a:endParaRPr lang="es-EC"/>
        </a:p>
      </dgm:t>
    </dgm:pt>
    <dgm:pt modelId="{3CC030A9-A796-4365-AC49-6D1F84BBEDC0}" type="sibTrans" cxnId="{8C9B2574-6B89-4871-8B8E-071B017B3DD2}">
      <dgm:prSet/>
      <dgm:spPr/>
      <dgm:t>
        <a:bodyPr/>
        <a:lstStyle/>
        <a:p>
          <a:endParaRPr lang="es-EC"/>
        </a:p>
      </dgm:t>
    </dgm:pt>
    <dgm:pt modelId="{38FCABB8-EB4D-476B-88D4-82D39CB61FEE}">
      <dgm:prSet phldrT="[Texto]"/>
      <dgm:spPr/>
      <dgm:t>
        <a:bodyPr/>
        <a:lstStyle/>
        <a:p>
          <a:r>
            <a:rPr lang="es-EC" dirty="0"/>
            <a:t>Conscientes de la riqueza natural y de los beneficios del turismo</a:t>
          </a:r>
        </a:p>
      </dgm:t>
    </dgm:pt>
    <dgm:pt modelId="{A6B93CD4-5E6F-40B8-91D9-4EF3BF955815}" type="parTrans" cxnId="{7F0DE24B-BCD1-4A1C-8A08-940389016E33}">
      <dgm:prSet/>
      <dgm:spPr/>
      <dgm:t>
        <a:bodyPr/>
        <a:lstStyle/>
        <a:p>
          <a:endParaRPr lang="es-EC"/>
        </a:p>
      </dgm:t>
    </dgm:pt>
    <dgm:pt modelId="{001EC8A2-AE9D-43A3-B1E0-473A72846800}" type="sibTrans" cxnId="{7F0DE24B-BCD1-4A1C-8A08-940389016E33}">
      <dgm:prSet/>
      <dgm:spPr/>
      <dgm:t>
        <a:bodyPr/>
        <a:lstStyle/>
        <a:p>
          <a:endParaRPr lang="es-EC"/>
        </a:p>
      </dgm:t>
    </dgm:pt>
    <dgm:pt modelId="{1F0E09D7-0227-469E-A410-605D1E817C76}" type="pres">
      <dgm:prSet presAssocID="{55A950FD-D831-4772-B2A0-52ABF6C573A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41321EE-A293-4326-AFB5-05EC612C829A}" type="pres">
      <dgm:prSet presAssocID="{36237B62-89FB-491A-81FC-59F19E8CACB2}" presName="gear1" presStyleLbl="node1" presStyleIdx="0" presStyleCnt="3">
        <dgm:presLayoutVars>
          <dgm:chMax val="1"/>
          <dgm:bulletEnabled val="1"/>
        </dgm:presLayoutVars>
      </dgm:prSet>
      <dgm:spPr/>
    </dgm:pt>
    <dgm:pt modelId="{B72E4A8F-DE8C-4A88-8625-3CCEDAE96352}" type="pres">
      <dgm:prSet presAssocID="{36237B62-89FB-491A-81FC-59F19E8CACB2}" presName="gear1srcNode" presStyleLbl="node1" presStyleIdx="0" presStyleCnt="3"/>
      <dgm:spPr/>
    </dgm:pt>
    <dgm:pt modelId="{E2A64E05-6403-4CCB-8DE4-16961529F767}" type="pres">
      <dgm:prSet presAssocID="{36237B62-89FB-491A-81FC-59F19E8CACB2}" presName="gear1dstNode" presStyleLbl="node1" presStyleIdx="0" presStyleCnt="3"/>
      <dgm:spPr/>
    </dgm:pt>
    <dgm:pt modelId="{0AB3ABB6-0605-4A5E-9B74-A103922DEFDF}" type="pres">
      <dgm:prSet presAssocID="{A0193E67-2477-4A26-9C4D-75247910C131}" presName="gear2" presStyleLbl="node1" presStyleIdx="1" presStyleCnt="3">
        <dgm:presLayoutVars>
          <dgm:chMax val="1"/>
          <dgm:bulletEnabled val="1"/>
        </dgm:presLayoutVars>
      </dgm:prSet>
      <dgm:spPr/>
    </dgm:pt>
    <dgm:pt modelId="{CD5868BC-547D-4E3A-BBAD-33050A916E35}" type="pres">
      <dgm:prSet presAssocID="{A0193E67-2477-4A26-9C4D-75247910C131}" presName="gear2srcNode" presStyleLbl="node1" presStyleIdx="1" presStyleCnt="3"/>
      <dgm:spPr/>
    </dgm:pt>
    <dgm:pt modelId="{0D9ADC9E-D2C1-4B0D-B73F-5AB400EF469C}" type="pres">
      <dgm:prSet presAssocID="{A0193E67-2477-4A26-9C4D-75247910C131}" presName="gear2dstNode" presStyleLbl="node1" presStyleIdx="1" presStyleCnt="3"/>
      <dgm:spPr/>
    </dgm:pt>
    <dgm:pt modelId="{A67E1E46-9379-4998-A731-BA76DFCE4D20}" type="pres">
      <dgm:prSet presAssocID="{38FCABB8-EB4D-476B-88D4-82D39CB61FEE}" presName="gear3" presStyleLbl="node1" presStyleIdx="2" presStyleCnt="3"/>
      <dgm:spPr/>
    </dgm:pt>
    <dgm:pt modelId="{FBAA84BD-F6B1-4CE1-8A03-65A0CCBA9A96}" type="pres">
      <dgm:prSet presAssocID="{38FCABB8-EB4D-476B-88D4-82D39CB61FEE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DADC942D-A580-4949-89E8-53217AED8A18}" type="pres">
      <dgm:prSet presAssocID="{38FCABB8-EB4D-476B-88D4-82D39CB61FEE}" presName="gear3srcNode" presStyleLbl="node1" presStyleIdx="2" presStyleCnt="3"/>
      <dgm:spPr/>
    </dgm:pt>
    <dgm:pt modelId="{0F210A8A-0129-400F-A44B-AB792938D0F0}" type="pres">
      <dgm:prSet presAssocID="{38FCABB8-EB4D-476B-88D4-82D39CB61FEE}" presName="gear3dstNode" presStyleLbl="node1" presStyleIdx="2" presStyleCnt="3"/>
      <dgm:spPr/>
    </dgm:pt>
    <dgm:pt modelId="{EDAA9B07-AA73-4FFF-86B1-81C9567BCF8A}" type="pres">
      <dgm:prSet presAssocID="{52B881B3-3902-4870-807A-8A6EAD11F19B}" presName="connector1" presStyleLbl="sibTrans2D1" presStyleIdx="0" presStyleCnt="3"/>
      <dgm:spPr/>
    </dgm:pt>
    <dgm:pt modelId="{3D0552F5-6AB2-4960-85D3-F4484B4E1F7F}" type="pres">
      <dgm:prSet presAssocID="{3CC030A9-A796-4365-AC49-6D1F84BBEDC0}" presName="connector2" presStyleLbl="sibTrans2D1" presStyleIdx="1" presStyleCnt="3"/>
      <dgm:spPr/>
    </dgm:pt>
    <dgm:pt modelId="{99798C73-80DB-435B-9D1A-9FB517536D92}" type="pres">
      <dgm:prSet presAssocID="{001EC8A2-AE9D-43A3-B1E0-473A72846800}" presName="connector3" presStyleLbl="sibTrans2D1" presStyleIdx="2" presStyleCnt="3"/>
      <dgm:spPr/>
    </dgm:pt>
  </dgm:ptLst>
  <dgm:cxnLst>
    <dgm:cxn modelId="{B73ADA14-7B88-4DD0-BA09-5C7A1EEBE570}" type="presOf" srcId="{36237B62-89FB-491A-81FC-59F19E8CACB2}" destId="{641321EE-A293-4326-AFB5-05EC612C829A}" srcOrd="0" destOrd="0" presId="urn:microsoft.com/office/officeart/2005/8/layout/gear1"/>
    <dgm:cxn modelId="{633BAE1E-2B4A-4ACD-97D9-42E5A47E6644}" type="presOf" srcId="{36237B62-89FB-491A-81FC-59F19E8CACB2}" destId="{E2A64E05-6403-4CCB-8DE4-16961529F767}" srcOrd="2" destOrd="0" presId="urn:microsoft.com/office/officeart/2005/8/layout/gear1"/>
    <dgm:cxn modelId="{2B1B1627-DC1F-4E36-A4E4-2F6C6906D877}" type="presOf" srcId="{52B881B3-3902-4870-807A-8A6EAD11F19B}" destId="{EDAA9B07-AA73-4FFF-86B1-81C9567BCF8A}" srcOrd="0" destOrd="0" presId="urn:microsoft.com/office/officeart/2005/8/layout/gear1"/>
    <dgm:cxn modelId="{50464E39-C570-4251-81FE-756444C9ABA8}" type="presOf" srcId="{38FCABB8-EB4D-476B-88D4-82D39CB61FEE}" destId="{DADC942D-A580-4949-89E8-53217AED8A18}" srcOrd="2" destOrd="0" presId="urn:microsoft.com/office/officeart/2005/8/layout/gear1"/>
    <dgm:cxn modelId="{E855A14B-FE68-4EB0-AB79-8221098AABE2}" type="presOf" srcId="{A0193E67-2477-4A26-9C4D-75247910C131}" destId="{CD5868BC-547D-4E3A-BBAD-33050A916E35}" srcOrd="1" destOrd="0" presId="urn:microsoft.com/office/officeart/2005/8/layout/gear1"/>
    <dgm:cxn modelId="{7F0DE24B-BCD1-4A1C-8A08-940389016E33}" srcId="{55A950FD-D831-4772-B2A0-52ABF6C573A6}" destId="{38FCABB8-EB4D-476B-88D4-82D39CB61FEE}" srcOrd="2" destOrd="0" parTransId="{A6B93CD4-5E6F-40B8-91D9-4EF3BF955815}" sibTransId="{001EC8A2-AE9D-43A3-B1E0-473A72846800}"/>
    <dgm:cxn modelId="{ED80766F-87B0-409C-B2F9-AD5B9049F6F2}" type="presOf" srcId="{A0193E67-2477-4A26-9C4D-75247910C131}" destId="{0D9ADC9E-D2C1-4B0D-B73F-5AB400EF469C}" srcOrd="2" destOrd="0" presId="urn:microsoft.com/office/officeart/2005/8/layout/gear1"/>
    <dgm:cxn modelId="{AD9E2952-2D16-4C20-A016-7E90E6069BDF}" type="presOf" srcId="{36237B62-89FB-491A-81FC-59F19E8CACB2}" destId="{B72E4A8F-DE8C-4A88-8625-3CCEDAE96352}" srcOrd="1" destOrd="0" presId="urn:microsoft.com/office/officeart/2005/8/layout/gear1"/>
    <dgm:cxn modelId="{8C9B2574-6B89-4871-8B8E-071B017B3DD2}" srcId="{55A950FD-D831-4772-B2A0-52ABF6C573A6}" destId="{A0193E67-2477-4A26-9C4D-75247910C131}" srcOrd="1" destOrd="0" parTransId="{CDE73121-86A7-47F8-ADFB-D6751B495ACF}" sibTransId="{3CC030A9-A796-4365-AC49-6D1F84BBEDC0}"/>
    <dgm:cxn modelId="{7BDF9483-EFBF-4AD7-8201-323C3DCB5828}" type="presOf" srcId="{38FCABB8-EB4D-476B-88D4-82D39CB61FEE}" destId="{FBAA84BD-F6B1-4CE1-8A03-65A0CCBA9A96}" srcOrd="1" destOrd="0" presId="urn:microsoft.com/office/officeart/2005/8/layout/gear1"/>
    <dgm:cxn modelId="{3412B796-0CC7-4088-976F-5EE6735B715C}" type="presOf" srcId="{3CC030A9-A796-4365-AC49-6D1F84BBEDC0}" destId="{3D0552F5-6AB2-4960-85D3-F4484B4E1F7F}" srcOrd="0" destOrd="0" presId="urn:microsoft.com/office/officeart/2005/8/layout/gear1"/>
    <dgm:cxn modelId="{3971CB9C-328C-41D5-959A-1538EE435849}" type="presOf" srcId="{38FCABB8-EB4D-476B-88D4-82D39CB61FEE}" destId="{A67E1E46-9379-4998-A731-BA76DFCE4D20}" srcOrd="0" destOrd="0" presId="urn:microsoft.com/office/officeart/2005/8/layout/gear1"/>
    <dgm:cxn modelId="{89D279B5-1192-4998-94CA-B67D2750B64C}" type="presOf" srcId="{001EC8A2-AE9D-43A3-B1E0-473A72846800}" destId="{99798C73-80DB-435B-9D1A-9FB517536D92}" srcOrd="0" destOrd="0" presId="urn:microsoft.com/office/officeart/2005/8/layout/gear1"/>
    <dgm:cxn modelId="{1336BDBD-2DBE-41B2-AA80-87B942E92867}" type="presOf" srcId="{A0193E67-2477-4A26-9C4D-75247910C131}" destId="{0AB3ABB6-0605-4A5E-9B74-A103922DEFDF}" srcOrd="0" destOrd="0" presId="urn:microsoft.com/office/officeart/2005/8/layout/gear1"/>
    <dgm:cxn modelId="{479E4AD7-C677-434D-86D2-50550B3F980F}" type="presOf" srcId="{38FCABB8-EB4D-476B-88D4-82D39CB61FEE}" destId="{0F210A8A-0129-400F-A44B-AB792938D0F0}" srcOrd="3" destOrd="0" presId="urn:microsoft.com/office/officeart/2005/8/layout/gear1"/>
    <dgm:cxn modelId="{C50A08E0-7300-4C15-AD45-3F3ACBFA0264}" type="presOf" srcId="{55A950FD-D831-4772-B2A0-52ABF6C573A6}" destId="{1F0E09D7-0227-469E-A410-605D1E817C76}" srcOrd="0" destOrd="0" presId="urn:microsoft.com/office/officeart/2005/8/layout/gear1"/>
    <dgm:cxn modelId="{22714BEC-F42D-45D7-AEE9-05E0DE33A717}" srcId="{55A950FD-D831-4772-B2A0-52ABF6C573A6}" destId="{36237B62-89FB-491A-81FC-59F19E8CACB2}" srcOrd="0" destOrd="0" parTransId="{A22ED0D4-B992-493E-ACAC-DC89419655FB}" sibTransId="{52B881B3-3902-4870-807A-8A6EAD11F19B}"/>
    <dgm:cxn modelId="{0FCCECE7-63DD-4A65-8812-EC9E7FB59286}" type="presParOf" srcId="{1F0E09D7-0227-469E-A410-605D1E817C76}" destId="{641321EE-A293-4326-AFB5-05EC612C829A}" srcOrd="0" destOrd="0" presId="urn:microsoft.com/office/officeart/2005/8/layout/gear1"/>
    <dgm:cxn modelId="{4DD5F601-C6C5-48B1-8E06-185DC7C55158}" type="presParOf" srcId="{1F0E09D7-0227-469E-A410-605D1E817C76}" destId="{B72E4A8F-DE8C-4A88-8625-3CCEDAE96352}" srcOrd="1" destOrd="0" presId="urn:microsoft.com/office/officeart/2005/8/layout/gear1"/>
    <dgm:cxn modelId="{BE9C02B6-9B54-40F5-933A-AC78BD32E5D3}" type="presParOf" srcId="{1F0E09D7-0227-469E-A410-605D1E817C76}" destId="{E2A64E05-6403-4CCB-8DE4-16961529F767}" srcOrd="2" destOrd="0" presId="urn:microsoft.com/office/officeart/2005/8/layout/gear1"/>
    <dgm:cxn modelId="{89BA7A08-5086-4A4F-A311-ADF3573AE271}" type="presParOf" srcId="{1F0E09D7-0227-469E-A410-605D1E817C76}" destId="{0AB3ABB6-0605-4A5E-9B74-A103922DEFDF}" srcOrd="3" destOrd="0" presId="urn:microsoft.com/office/officeart/2005/8/layout/gear1"/>
    <dgm:cxn modelId="{12F90387-809D-4027-AC0B-424631AE4057}" type="presParOf" srcId="{1F0E09D7-0227-469E-A410-605D1E817C76}" destId="{CD5868BC-547D-4E3A-BBAD-33050A916E35}" srcOrd="4" destOrd="0" presId="urn:microsoft.com/office/officeart/2005/8/layout/gear1"/>
    <dgm:cxn modelId="{472E79BB-133C-402D-B136-4134BDD032FF}" type="presParOf" srcId="{1F0E09D7-0227-469E-A410-605D1E817C76}" destId="{0D9ADC9E-D2C1-4B0D-B73F-5AB400EF469C}" srcOrd="5" destOrd="0" presId="urn:microsoft.com/office/officeart/2005/8/layout/gear1"/>
    <dgm:cxn modelId="{81D4100F-1B67-4D8B-A2DD-A1F4FCE0F6C1}" type="presParOf" srcId="{1F0E09D7-0227-469E-A410-605D1E817C76}" destId="{A67E1E46-9379-4998-A731-BA76DFCE4D20}" srcOrd="6" destOrd="0" presId="urn:microsoft.com/office/officeart/2005/8/layout/gear1"/>
    <dgm:cxn modelId="{78BD12F8-097F-4970-9AAE-6E2D78603265}" type="presParOf" srcId="{1F0E09D7-0227-469E-A410-605D1E817C76}" destId="{FBAA84BD-F6B1-4CE1-8A03-65A0CCBA9A96}" srcOrd="7" destOrd="0" presId="urn:microsoft.com/office/officeart/2005/8/layout/gear1"/>
    <dgm:cxn modelId="{A3400049-F7FC-4E26-BDBA-BA8F241247E6}" type="presParOf" srcId="{1F0E09D7-0227-469E-A410-605D1E817C76}" destId="{DADC942D-A580-4949-89E8-53217AED8A18}" srcOrd="8" destOrd="0" presId="urn:microsoft.com/office/officeart/2005/8/layout/gear1"/>
    <dgm:cxn modelId="{31158088-70E6-4019-A4C9-AF15A7A96B6F}" type="presParOf" srcId="{1F0E09D7-0227-469E-A410-605D1E817C76}" destId="{0F210A8A-0129-400F-A44B-AB792938D0F0}" srcOrd="9" destOrd="0" presId="urn:microsoft.com/office/officeart/2005/8/layout/gear1"/>
    <dgm:cxn modelId="{E18B8462-872A-4291-ADAC-8C17FFEE9B2D}" type="presParOf" srcId="{1F0E09D7-0227-469E-A410-605D1E817C76}" destId="{EDAA9B07-AA73-4FFF-86B1-81C9567BCF8A}" srcOrd="10" destOrd="0" presId="urn:microsoft.com/office/officeart/2005/8/layout/gear1"/>
    <dgm:cxn modelId="{F207C1EF-B20C-45A8-9330-FE67F204CE9A}" type="presParOf" srcId="{1F0E09D7-0227-469E-A410-605D1E817C76}" destId="{3D0552F5-6AB2-4960-85D3-F4484B4E1F7F}" srcOrd="11" destOrd="0" presId="urn:microsoft.com/office/officeart/2005/8/layout/gear1"/>
    <dgm:cxn modelId="{C34D9E7C-3455-4F47-AC59-3676A4E6157E}" type="presParOf" srcId="{1F0E09D7-0227-469E-A410-605D1E817C76}" destId="{99798C73-80DB-435B-9D1A-9FB517536D92}" srcOrd="12" destOrd="0" presId="urn:microsoft.com/office/officeart/2005/8/layout/gear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41906C8-2A3A-46E1-9E18-C69788B82EB6}" type="doc">
      <dgm:prSet loTypeId="urn:microsoft.com/office/officeart/2005/8/layout/bProcess4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5B71D269-BCD2-4BDD-9A03-DE71BF945596}">
      <dgm:prSet phldrT="[Texto]"/>
      <dgm:spPr/>
      <dgm:t>
        <a:bodyPr/>
        <a:lstStyle/>
        <a:p>
          <a:r>
            <a:rPr lang="es-EC" dirty="0"/>
            <a:t>Hombres y Mujeres</a:t>
          </a:r>
        </a:p>
      </dgm:t>
    </dgm:pt>
    <dgm:pt modelId="{F486DB0F-D784-492E-B41F-825468387B79}" type="parTrans" cxnId="{5B741F0D-2E35-489B-A511-7971EAEF3357}">
      <dgm:prSet/>
      <dgm:spPr/>
      <dgm:t>
        <a:bodyPr/>
        <a:lstStyle/>
        <a:p>
          <a:endParaRPr lang="es-EC"/>
        </a:p>
      </dgm:t>
    </dgm:pt>
    <dgm:pt modelId="{6E46182F-122E-4CE0-8466-01BBD2567666}" type="sibTrans" cxnId="{5B741F0D-2E35-489B-A511-7971EAEF3357}">
      <dgm:prSet/>
      <dgm:spPr/>
      <dgm:t>
        <a:bodyPr/>
        <a:lstStyle/>
        <a:p>
          <a:endParaRPr lang="es-EC"/>
        </a:p>
      </dgm:t>
    </dgm:pt>
    <dgm:pt modelId="{CCBCBC73-F05D-4C39-AD5D-DBAE0D1EEBEB}">
      <dgm:prSet phldrT="[Texto]"/>
      <dgm:spPr/>
      <dgm:t>
        <a:bodyPr/>
        <a:lstStyle/>
        <a:p>
          <a:r>
            <a:rPr lang="es-EC" dirty="0"/>
            <a:t>Los turistas contribuyen al desarrollo local</a:t>
          </a:r>
        </a:p>
      </dgm:t>
    </dgm:pt>
    <dgm:pt modelId="{8A95EB8B-C85B-4EC3-98C1-ADE7980CCFFB}" type="parTrans" cxnId="{5B2B53CC-B00F-4AF2-810D-9E9E4453F2C9}">
      <dgm:prSet/>
      <dgm:spPr/>
      <dgm:t>
        <a:bodyPr/>
        <a:lstStyle/>
        <a:p>
          <a:endParaRPr lang="es-EC"/>
        </a:p>
      </dgm:t>
    </dgm:pt>
    <dgm:pt modelId="{406C9521-6E25-4C45-8922-2E90850CBBA6}" type="sibTrans" cxnId="{5B2B53CC-B00F-4AF2-810D-9E9E4453F2C9}">
      <dgm:prSet/>
      <dgm:spPr/>
      <dgm:t>
        <a:bodyPr/>
        <a:lstStyle/>
        <a:p>
          <a:endParaRPr lang="es-EC"/>
        </a:p>
      </dgm:t>
    </dgm:pt>
    <dgm:pt modelId="{3CD7D229-8135-46F8-A443-D6664C733EA1}">
      <dgm:prSet phldrT="[Texto]"/>
      <dgm:spPr/>
      <dgm:t>
        <a:bodyPr/>
        <a:lstStyle/>
        <a:p>
          <a:r>
            <a:rPr lang="es-EC" dirty="0"/>
            <a:t>Impulsa la economía</a:t>
          </a:r>
        </a:p>
        <a:p>
          <a:r>
            <a:rPr lang="es-EC" dirty="0"/>
            <a:t>Genera fuentes de empleo</a:t>
          </a:r>
        </a:p>
        <a:p>
          <a:r>
            <a:rPr lang="es-EC" dirty="0"/>
            <a:t>Mejora la calidad de vida</a:t>
          </a:r>
        </a:p>
      </dgm:t>
    </dgm:pt>
    <dgm:pt modelId="{660F6A8E-613D-47FE-97E2-76B298D22FF6}" type="parTrans" cxnId="{07F93C48-92B3-4A97-888D-B109238EE3CB}">
      <dgm:prSet/>
      <dgm:spPr/>
      <dgm:t>
        <a:bodyPr/>
        <a:lstStyle/>
        <a:p>
          <a:endParaRPr lang="es-EC"/>
        </a:p>
      </dgm:t>
    </dgm:pt>
    <dgm:pt modelId="{F04E604B-304C-4E19-B4D7-CA6190FDD5E7}" type="sibTrans" cxnId="{07F93C48-92B3-4A97-888D-B109238EE3CB}">
      <dgm:prSet/>
      <dgm:spPr/>
      <dgm:t>
        <a:bodyPr/>
        <a:lstStyle/>
        <a:p>
          <a:endParaRPr lang="es-EC"/>
        </a:p>
      </dgm:t>
    </dgm:pt>
    <dgm:pt modelId="{A2E57D5C-18F6-407F-BC6F-9DE17E6482AE}">
      <dgm:prSet phldrT="[Texto]"/>
      <dgm:spPr/>
      <dgm:t>
        <a:bodyPr/>
        <a:lstStyle/>
        <a:p>
          <a:r>
            <a:rPr lang="es-EC" dirty="0"/>
            <a:t>Aumento de visitantes en la zona</a:t>
          </a:r>
        </a:p>
      </dgm:t>
    </dgm:pt>
    <dgm:pt modelId="{8E09FA7E-AC91-447B-A137-2C353559D5A1}" type="parTrans" cxnId="{A5B975E7-B7EB-4CD7-BF39-E14851341F70}">
      <dgm:prSet/>
      <dgm:spPr/>
      <dgm:t>
        <a:bodyPr/>
        <a:lstStyle/>
        <a:p>
          <a:endParaRPr lang="es-EC"/>
        </a:p>
      </dgm:t>
    </dgm:pt>
    <dgm:pt modelId="{F9EC8201-7DF6-4F2D-8189-7ABA4DAA2C55}" type="sibTrans" cxnId="{A5B975E7-B7EB-4CD7-BF39-E14851341F70}">
      <dgm:prSet/>
      <dgm:spPr/>
      <dgm:t>
        <a:bodyPr/>
        <a:lstStyle/>
        <a:p>
          <a:endParaRPr lang="es-EC"/>
        </a:p>
      </dgm:t>
    </dgm:pt>
    <dgm:pt modelId="{B399DFA9-B8D1-44F0-B77F-1011E379C2B9}">
      <dgm:prSet phldrT="[Texto]"/>
      <dgm:spPr/>
      <dgm:t>
        <a:bodyPr/>
        <a:lstStyle/>
        <a:p>
          <a:r>
            <a:rPr lang="es-EC" dirty="0"/>
            <a:t>Entre 30 y 53 años</a:t>
          </a:r>
        </a:p>
      </dgm:t>
    </dgm:pt>
    <dgm:pt modelId="{DF4E64E2-4AC9-40D2-95F1-624E84E288C1}" type="parTrans" cxnId="{6B577DAC-BDB7-4703-B786-F7292CE7D311}">
      <dgm:prSet/>
      <dgm:spPr/>
      <dgm:t>
        <a:bodyPr/>
        <a:lstStyle/>
        <a:p>
          <a:endParaRPr lang="es-EC"/>
        </a:p>
      </dgm:t>
    </dgm:pt>
    <dgm:pt modelId="{642EA4B3-D066-44FC-AB72-6F98593A2422}" type="sibTrans" cxnId="{6B577DAC-BDB7-4703-B786-F7292CE7D311}">
      <dgm:prSet/>
      <dgm:spPr/>
      <dgm:t>
        <a:bodyPr/>
        <a:lstStyle/>
        <a:p>
          <a:endParaRPr lang="es-EC"/>
        </a:p>
      </dgm:t>
    </dgm:pt>
    <dgm:pt modelId="{DDC8C6AB-2DC6-42FC-BC3B-3B36B3C2BEF2}">
      <dgm:prSet phldrT="[Texto]"/>
      <dgm:spPr/>
      <dgm:t>
        <a:bodyPr/>
        <a:lstStyle/>
        <a:p>
          <a:r>
            <a:rPr lang="es-EC" dirty="0"/>
            <a:t>Negocio propio y comerciantes</a:t>
          </a:r>
        </a:p>
      </dgm:t>
    </dgm:pt>
    <dgm:pt modelId="{9C2FED36-3A54-4739-B9E9-C9BCEDE1C29C}" type="parTrans" cxnId="{DA7769D6-FCB5-4CF3-B0FB-D2DB7767D4FB}">
      <dgm:prSet/>
      <dgm:spPr/>
      <dgm:t>
        <a:bodyPr/>
        <a:lstStyle/>
        <a:p>
          <a:endParaRPr lang="es-EC"/>
        </a:p>
      </dgm:t>
    </dgm:pt>
    <dgm:pt modelId="{9EBEB512-B79E-4AD3-BC23-3AA9ACCE2131}" type="sibTrans" cxnId="{DA7769D6-FCB5-4CF3-B0FB-D2DB7767D4FB}">
      <dgm:prSet/>
      <dgm:spPr/>
      <dgm:t>
        <a:bodyPr/>
        <a:lstStyle/>
        <a:p>
          <a:endParaRPr lang="es-EC"/>
        </a:p>
      </dgm:t>
    </dgm:pt>
    <dgm:pt modelId="{DA216F90-C86A-4317-AC94-7472C452DC4C}">
      <dgm:prSet phldrT="[Texto]"/>
      <dgm:spPr/>
      <dgm:t>
        <a:bodyPr/>
        <a:lstStyle/>
        <a:p>
          <a:r>
            <a:rPr lang="es-EC" dirty="0"/>
            <a:t>Bachilleres</a:t>
          </a:r>
        </a:p>
      </dgm:t>
    </dgm:pt>
    <dgm:pt modelId="{60D8A4A5-8D3F-405F-8006-CC3318A7CE5D}" type="parTrans" cxnId="{913B37F0-EB9D-4D19-B645-0813D1B886E2}">
      <dgm:prSet/>
      <dgm:spPr/>
      <dgm:t>
        <a:bodyPr/>
        <a:lstStyle/>
        <a:p>
          <a:endParaRPr lang="es-EC"/>
        </a:p>
      </dgm:t>
    </dgm:pt>
    <dgm:pt modelId="{85FD8387-6654-44A4-96D8-5AF0B8FE7E03}" type="sibTrans" cxnId="{913B37F0-EB9D-4D19-B645-0813D1B886E2}">
      <dgm:prSet/>
      <dgm:spPr/>
      <dgm:t>
        <a:bodyPr/>
        <a:lstStyle/>
        <a:p>
          <a:endParaRPr lang="es-EC"/>
        </a:p>
      </dgm:t>
    </dgm:pt>
    <dgm:pt modelId="{A77E268A-4434-4594-9739-425478881B42}">
      <dgm:prSet phldrT="[Texto]"/>
      <dgm:spPr/>
      <dgm:t>
        <a:bodyPr/>
        <a:lstStyle/>
        <a:p>
          <a:r>
            <a:rPr lang="es-EC" dirty="0"/>
            <a:t>Si tiene potencial turístico</a:t>
          </a:r>
        </a:p>
      </dgm:t>
    </dgm:pt>
    <dgm:pt modelId="{D3E6E9F6-50B5-4FBC-8164-53BCBCD27443}" type="parTrans" cxnId="{B1ABD982-B1A2-4E3D-9C1E-840A5C9F09FB}">
      <dgm:prSet/>
      <dgm:spPr/>
      <dgm:t>
        <a:bodyPr/>
        <a:lstStyle/>
        <a:p>
          <a:endParaRPr lang="es-EC"/>
        </a:p>
      </dgm:t>
    </dgm:pt>
    <dgm:pt modelId="{A835AB40-A848-4909-8941-13D886E0727B}" type="sibTrans" cxnId="{B1ABD982-B1A2-4E3D-9C1E-840A5C9F09FB}">
      <dgm:prSet/>
      <dgm:spPr/>
      <dgm:t>
        <a:bodyPr/>
        <a:lstStyle/>
        <a:p>
          <a:endParaRPr lang="es-EC"/>
        </a:p>
      </dgm:t>
    </dgm:pt>
    <dgm:pt modelId="{97E921AC-67A6-4281-8B71-A9612CA2B9F0}">
      <dgm:prSet phldrT="[Texto]"/>
      <dgm:spPr/>
      <dgm:t>
        <a:bodyPr/>
        <a:lstStyle/>
        <a:p>
          <a:r>
            <a:rPr lang="es-EC" dirty="0"/>
            <a:t>Turismo</a:t>
          </a:r>
        </a:p>
      </dgm:t>
    </dgm:pt>
    <dgm:pt modelId="{5CB1EFA2-FA3B-4795-B6AE-56744BF84599}" type="parTrans" cxnId="{465F9D42-A1B6-4F3D-A09D-C055149713E4}">
      <dgm:prSet/>
      <dgm:spPr/>
      <dgm:t>
        <a:bodyPr/>
        <a:lstStyle/>
        <a:p>
          <a:endParaRPr lang="es-EC"/>
        </a:p>
      </dgm:t>
    </dgm:pt>
    <dgm:pt modelId="{D8CC2BA5-E05D-4FB0-9E7E-76C7BE27E357}" type="sibTrans" cxnId="{465F9D42-A1B6-4F3D-A09D-C055149713E4}">
      <dgm:prSet/>
      <dgm:spPr/>
      <dgm:t>
        <a:bodyPr/>
        <a:lstStyle/>
        <a:p>
          <a:endParaRPr lang="es-EC"/>
        </a:p>
      </dgm:t>
    </dgm:pt>
    <dgm:pt modelId="{311BC370-2030-46B4-97ED-59740F7063B4}">
      <dgm:prSet phldrT="[Texto]"/>
      <dgm:spPr/>
      <dgm:t>
        <a:bodyPr/>
        <a:lstStyle/>
        <a:p>
          <a:r>
            <a:rPr lang="es-EC" dirty="0"/>
            <a:t>Agroturismo</a:t>
          </a:r>
        </a:p>
      </dgm:t>
    </dgm:pt>
    <dgm:pt modelId="{97784316-14C5-403E-8C72-708F586AC518}" type="parTrans" cxnId="{187FD29D-A8FB-41DF-A718-FF2BA046368B}">
      <dgm:prSet/>
      <dgm:spPr/>
      <dgm:t>
        <a:bodyPr/>
        <a:lstStyle/>
        <a:p>
          <a:endParaRPr lang="es-EC"/>
        </a:p>
      </dgm:t>
    </dgm:pt>
    <dgm:pt modelId="{39574654-7442-4448-BC2F-802EA34ED8E9}" type="sibTrans" cxnId="{187FD29D-A8FB-41DF-A718-FF2BA046368B}">
      <dgm:prSet/>
      <dgm:spPr/>
      <dgm:t>
        <a:bodyPr/>
        <a:lstStyle/>
        <a:p>
          <a:endParaRPr lang="es-EC"/>
        </a:p>
      </dgm:t>
    </dgm:pt>
    <dgm:pt modelId="{4BC17F02-5ECE-435C-A2DB-93CE3839D5D8}">
      <dgm:prSet phldrT="[Texto]"/>
      <dgm:spPr/>
      <dgm:t>
        <a:bodyPr/>
        <a:lstStyle/>
        <a:p>
          <a:r>
            <a:rPr lang="es-EC" dirty="0"/>
            <a:t>Senderismo</a:t>
          </a:r>
        </a:p>
      </dgm:t>
    </dgm:pt>
    <dgm:pt modelId="{01970DDA-2ABC-4800-B8D5-2485500C26FA}" type="parTrans" cxnId="{F4C57F1B-F3E6-449C-A6CD-0B4D9BD65D8B}">
      <dgm:prSet/>
      <dgm:spPr/>
      <dgm:t>
        <a:bodyPr/>
        <a:lstStyle/>
        <a:p>
          <a:endParaRPr lang="es-EC"/>
        </a:p>
      </dgm:t>
    </dgm:pt>
    <dgm:pt modelId="{9F48D7B5-E37A-482E-ADF2-ACAEB7099D7F}" type="sibTrans" cxnId="{F4C57F1B-F3E6-449C-A6CD-0B4D9BD65D8B}">
      <dgm:prSet/>
      <dgm:spPr/>
      <dgm:t>
        <a:bodyPr/>
        <a:lstStyle/>
        <a:p>
          <a:endParaRPr lang="es-EC"/>
        </a:p>
      </dgm:t>
    </dgm:pt>
    <dgm:pt modelId="{876BFB25-D1F6-4D71-A68C-686CE40720E1}">
      <dgm:prSet phldrT="[Texto]"/>
      <dgm:spPr/>
      <dgm:t>
        <a:bodyPr/>
        <a:lstStyle/>
        <a:p>
          <a:r>
            <a:rPr lang="es-EC" dirty="0"/>
            <a:t>Visita fincas y atractivos</a:t>
          </a:r>
        </a:p>
      </dgm:t>
    </dgm:pt>
    <dgm:pt modelId="{0BB65F43-BEC9-48A4-A938-CC7950FED7EE}" type="parTrans" cxnId="{ED08DEFE-903E-4E21-9344-FD0658643C26}">
      <dgm:prSet/>
      <dgm:spPr/>
      <dgm:t>
        <a:bodyPr/>
        <a:lstStyle/>
        <a:p>
          <a:endParaRPr lang="es-EC"/>
        </a:p>
      </dgm:t>
    </dgm:pt>
    <dgm:pt modelId="{13A49DE6-D105-4CB5-BF81-01880147AE5C}" type="sibTrans" cxnId="{ED08DEFE-903E-4E21-9344-FD0658643C26}">
      <dgm:prSet/>
      <dgm:spPr/>
      <dgm:t>
        <a:bodyPr/>
        <a:lstStyle/>
        <a:p>
          <a:endParaRPr lang="es-EC"/>
        </a:p>
      </dgm:t>
    </dgm:pt>
    <dgm:pt modelId="{D94FC9C7-1321-4CA9-B76B-7F673FA6C918}">
      <dgm:prSet phldrT="[Texto]"/>
      <dgm:spPr/>
      <dgm:t>
        <a:bodyPr/>
        <a:lstStyle/>
        <a:p>
          <a:r>
            <a:rPr lang="es-EC" dirty="0"/>
            <a:t>Observación de Flora y Fauna</a:t>
          </a:r>
        </a:p>
      </dgm:t>
    </dgm:pt>
    <dgm:pt modelId="{BB79253B-42C8-4788-B3D7-49ECC189EA2F}" type="parTrans" cxnId="{413109CA-8916-466C-8D69-835AC5F63CC0}">
      <dgm:prSet/>
      <dgm:spPr/>
      <dgm:t>
        <a:bodyPr/>
        <a:lstStyle/>
        <a:p>
          <a:endParaRPr lang="es-EC"/>
        </a:p>
      </dgm:t>
    </dgm:pt>
    <dgm:pt modelId="{BEBB1533-8228-403F-8CE5-87207F4023E2}" type="sibTrans" cxnId="{413109CA-8916-466C-8D69-835AC5F63CC0}">
      <dgm:prSet/>
      <dgm:spPr/>
      <dgm:t>
        <a:bodyPr/>
        <a:lstStyle/>
        <a:p>
          <a:endParaRPr lang="es-EC"/>
        </a:p>
      </dgm:t>
    </dgm:pt>
    <dgm:pt modelId="{87B1105E-CFB8-4C12-9198-1B0E117E5FB0}" type="pres">
      <dgm:prSet presAssocID="{441906C8-2A3A-46E1-9E18-C69788B82EB6}" presName="Name0" presStyleCnt="0">
        <dgm:presLayoutVars>
          <dgm:dir/>
          <dgm:resizeHandles/>
        </dgm:presLayoutVars>
      </dgm:prSet>
      <dgm:spPr/>
    </dgm:pt>
    <dgm:pt modelId="{8D29A9F0-AF0A-4809-AEFC-BC0904E206F0}" type="pres">
      <dgm:prSet presAssocID="{5B71D269-BCD2-4BDD-9A03-DE71BF945596}" presName="compNode" presStyleCnt="0"/>
      <dgm:spPr/>
    </dgm:pt>
    <dgm:pt modelId="{D63E3E5E-F56B-497A-9DB6-D74814C461D4}" type="pres">
      <dgm:prSet presAssocID="{5B71D269-BCD2-4BDD-9A03-DE71BF945596}" presName="dummyConnPt" presStyleCnt="0"/>
      <dgm:spPr/>
    </dgm:pt>
    <dgm:pt modelId="{9654CBAB-3135-4079-999A-6F76FD89DB6B}" type="pres">
      <dgm:prSet presAssocID="{5B71D269-BCD2-4BDD-9A03-DE71BF945596}" presName="node" presStyleLbl="node1" presStyleIdx="0" presStyleCnt="9">
        <dgm:presLayoutVars>
          <dgm:bulletEnabled val="1"/>
        </dgm:presLayoutVars>
      </dgm:prSet>
      <dgm:spPr/>
    </dgm:pt>
    <dgm:pt modelId="{A1695B2E-7F68-40B9-AC43-6E8B85E147E5}" type="pres">
      <dgm:prSet presAssocID="{6E46182F-122E-4CE0-8466-01BBD2567666}" presName="sibTrans" presStyleLbl="bgSibTrans2D1" presStyleIdx="0" presStyleCnt="8"/>
      <dgm:spPr/>
    </dgm:pt>
    <dgm:pt modelId="{EE3A58B4-F242-4C10-B3BE-8AC5BA36385D}" type="pres">
      <dgm:prSet presAssocID="{B399DFA9-B8D1-44F0-B77F-1011E379C2B9}" presName="compNode" presStyleCnt="0"/>
      <dgm:spPr/>
    </dgm:pt>
    <dgm:pt modelId="{6AB76CA2-71D0-4F8D-99E6-FF3392F43D7C}" type="pres">
      <dgm:prSet presAssocID="{B399DFA9-B8D1-44F0-B77F-1011E379C2B9}" presName="dummyConnPt" presStyleCnt="0"/>
      <dgm:spPr/>
    </dgm:pt>
    <dgm:pt modelId="{94DE4A59-4F65-40A1-93AF-F2D810CAA758}" type="pres">
      <dgm:prSet presAssocID="{B399DFA9-B8D1-44F0-B77F-1011E379C2B9}" presName="node" presStyleLbl="node1" presStyleIdx="1" presStyleCnt="9">
        <dgm:presLayoutVars>
          <dgm:bulletEnabled val="1"/>
        </dgm:presLayoutVars>
      </dgm:prSet>
      <dgm:spPr/>
    </dgm:pt>
    <dgm:pt modelId="{7486ABD2-D320-47AC-86D4-63E03B0CB834}" type="pres">
      <dgm:prSet presAssocID="{642EA4B3-D066-44FC-AB72-6F98593A2422}" presName="sibTrans" presStyleLbl="bgSibTrans2D1" presStyleIdx="1" presStyleCnt="8"/>
      <dgm:spPr/>
    </dgm:pt>
    <dgm:pt modelId="{1A34D852-85B6-40DD-BA11-8F79DF828F97}" type="pres">
      <dgm:prSet presAssocID="{DDC8C6AB-2DC6-42FC-BC3B-3B36B3C2BEF2}" presName="compNode" presStyleCnt="0"/>
      <dgm:spPr/>
    </dgm:pt>
    <dgm:pt modelId="{F007ADDB-86B2-4C68-8C96-F924A5711454}" type="pres">
      <dgm:prSet presAssocID="{DDC8C6AB-2DC6-42FC-BC3B-3B36B3C2BEF2}" presName="dummyConnPt" presStyleCnt="0"/>
      <dgm:spPr/>
    </dgm:pt>
    <dgm:pt modelId="{79127FD1-CDDF-4E2E-B30A-93850B0A88D4}" type="pres">
      <dgm:prSet presAssocID="{DDC8C6AB-2DC6-42FC-BC3B-3B36B3C2BEF2}" presName="node" presStyleLbl="node1" presStyleIdx="2" presStyleCnt="9">
        <dgm:presLayoutVars>
          <dgm:bulletEnabled val="1"/>
        </dgm:presLayoutVars>
      </dgm:prSet>
      <dgm:spPr/>
    </dgm:pt>
    <dgm:pt modelId="{EBE46FA3-3C7E-487C-83A2-4E9AAB0E1522}" type="pres">
      <dgm:prSet presAssocID="{9EBEB512-B79E-4AD3-BC23-3AA9ACCE2131}" presName="sibTrans" presStyleLbl="bgSibTrans2D1" presStyleIdx="2" presStyleCnt="8"/>
      <dgm:spPr/>
    </dgm:pt>
    <dgm:pt modelId="{A157820C-0AD8-4FCF-99A4-F6FE5A8AC10E}" type="pres">
      <dgm:prSet presAssocID="{DA216F90-C86A-4317-AC94-7472C452DC4C}" presName="compNode" presStyleCnt="0"/>
      <dgm:spPr/>
    </dgm:pt>
    <dgm:pt modelId="{5907A66C-8B9B-40C1-8CC8-71FD1013214E}" type="pres">
      <dgm:prSet presAssocID="{DA216F90-C86A-4317-AC94-7472C452DC4C}" presName="dummyConnPt" presStyleCnt="0"/>
      <dgm:spPr/>
    </dgm:pt>
    <dgm:pt modelId="{F3A074FD-35EE-4FAF-A3CB-4B531ADD6CA1}" type="pres">
      <dgm:prSet presAssocID="{DA216F90-C86A-4317-AC94-7472C452DC4C}" presName="node" presStyleLbl="node1" presStyleIdx="3" presStyleCnt="9">
        <dgm:presLayoutVars>
          <dgm:bulletEnabled val="1"/>
        </dgm:presLayoutVars>
      </dgm:prSet>
      <dgm:spPr/>
    </dgm:pt>
    <dgm:pt modelId="{FB2E2F7E-8147-4F69-B39D-86D2F85B6EA3}" type="pres">
      <dgm:prSet presAssocID="{85FD8387-6654-44A4-96D8-5AF0B8FE7E03}" presName="sibTrans" presStyleLbl="bgSibTrans2D1" presStyleIdx="3" presStyleCnt="8"/>
      <dgm:spPr/>
    </dgm:pt>
    <dgm:pt modelId="{58F5EFEA-AD9B-4229-83A1-D71B81834DAE}" type="pres">
      <dgm:prSet presAssocID="{A77E268A-4434-4594-9739-425478881B42}" presName="compNode" presStyleCnt="0"/>
      <dgm:spPr/>
    </dgm:pt>
    <dgm:pt modelId="{6522F902-0BC4-4158-9A23-AF16C15A5D0B}" type="pres">
      <dgm:prSet presAssocID="{A77E268A-4434-4594-9739-425478881B42}" presName="dummyConnPt" presStyleCnt="0"/>
      <dgm:spPr/>
    </dgm:pt>
    <dgm:pt modelId="{BE260D3D-F859-4273-A9EB-C261AA065841}" type="pres">
      <dgm:prSet presAssocID="{A77E268A-4434-4594-9739-425478881B42}" presName="node" presStyleLbl="node1" presStyleIdx="4" presStyleCnt="9">
        <dgm:presLayoutVars>
          <dgm:bulletEnabled val="1"/>
        </dgm:presLayoutVars>
      </dgm:prSet>
      <dgm:spPr/>
    </dgm:pt>
    <dgm:pt modelId="{17583D0B-5ACC-40A3-9065-92F00E7FABF7}" type="pres">
      <dgm:prSet presAssocID="{A835AB40-A848-4909-8941-13D886E0727B}" presName="sibTrans" presStyleLbl="bgSibTrans2D1" presStyleIdx="4" presStyleCnt="8"/>
      <dgm:spPr/>
    </dgm:pt>
    <dgm:pt modelId="{790323FF-8C5D-40DA-A556-AFC07ED87C47}" type="pres">
      <dgm:prSet presAssocID="{97E921AC-67A6-4281-8B71-A9612CA2B9F0}" presName="compNode" presStyleCnt="0"/>
      <dgm:spPr/>
    </dgm:pt>
    <dgm:pt modelId="{FCCB0D17-D428-4362-B92C-8E693CF1BCE4}" type="pres">
      <dgm:prSet presAssocID="{97E921AC-67A6-4281-8B71-A9612CA2B9F0}" presName="dummyConnPt" presStyleCnt="0"/>
      <dgm:spPr/>
    </dgm:pt>
    <dgm:pt modelId="{569647C3-9CB2-4AA9-B6FD-F3EFB6CD5D55}" type="pres">
      <dgm:prSet presAssocID="{97E921AC-67A6-4281-8B71-A9612CA2B9F0}" presName="node" presStyleLbl="node1" presStyleIdx="5" presStyleCnt="9">
        <dgm:presLayoutVars>
          <dgm:bulletEnabled val="1"/>
        </dgm:presLayoutVars>
      </dgm:prSet>
      <dgm:spPr/>
    </dgm:pt>
    <dgm:pt modelId="{C0F2722F-C810-45C8-BF8B-1A95220FC98D}" type="pres">
      <dgm:prSet presAssocID="{D8CC2BA5-E05D-4FB0-9E7E-76C7BE27E357}" presName="sibTrans" presStyleLbl="bgSibTrans2D1" presStyleIdx="5" presStyleCnt="8"/>
      <dgm:spPr/>
    </dgm:pt>
    <dgm:pt modelId="{458E0A9B-BC3D-4F24-A0D5-56430F4278C6}" type="pres">
      <dgm:prSet presAssocID="{CCBCBC73-F05D-4C39-AD5D-DBAE0D1EEBEB}" presName="compNode" presStyleCnt="0"/>
      <dgm:spPr/>
    </dgm:pt>
    <dgm:pt modelId="{5167553E-7A80-4AB4-9690-98AD49F8EE01}" type="pres">
      <dgm:prSet presAssocID="{CCBCBC73-F05D-4C39-AD5D-DBAE0D1EEBEB}" presName="dummyConnPt" presStyleCnt="0"/>
      <dgm:spPr/>
    </dgm:pt>
    <dgm:pt modelId="{96D21F36-C101-4578-9E4A-91D7FEB6D073}" type="pres">
      <dgm:prSet presAssocID="{CCBCBC73-F05D-4C39-AD5D-DBAE0D1EEBEB}" presName="node" presStyleLbl="node1" presStyleIdx="6" presStyleCnt="9">
        <dgm:presLayoutVars>
          <dgm:bulletEnabled val="1"/>
        </dgm:presLayoutVars>
      </dgm:prSet>
      <dgm:spPr/>
    </dgm:pt>
    <dgm:pt modelId="{E995C3E1-A347-41CC-AFDC-CC11A946D501}" type="pres">
      <dgm:prSet presAssocID="{406C9521-6E25-4C45-8922-2E90850CBBA6}" presName="sibTrans" presStyleLbl="bgSibTrans2D1" presStyleIdx="6" presStyleCnt="8"/>
      <dgm:spPr/>
    </dgm:pt>
    <dgm:pt modelId="{B9CC2116-EF65-4262-8FA5-86C740E8526C}" type="pres">
      <dgm:prSet presAssocID="{3CD7D229-8135-46F8-A443-D6664C733EA1}" presName="compNode" presStyleCnt="0"/>
      <dgm:spPr/>
    </dgm:pt>
    <dgm:pt modelId="{52190F3F-9874-4D6C-8C0C-B986118FEAE2}" type="pres">
      <dgm:prSet presAssocID="{3CD7D229-8135-46F8-A443-D6664C733EA1}" presName="dummyConnPt" presStyleCnt="0"/>
      <dgm:spPr/>
    </dgm:pt>
    <dgm:pt modelId="{0D6456CB-1C9A-4FD0-8A34-EF88198165EE}" type="pres">
      <dgm:prSet presAssocID="{3CD7D229-8135-46F8-A443-D6664C733EA1}" presName="node" presStyleLbl="node1" presStyleIdx="7" presStyleCnt="9">
        <dgm:presLayoutVars>
          <dgm:bulletEnabled val="1"/>
        </dgm:presLayoutVars>
      </dgm:prSet>
      <dgm:spPr/>
    </dgm:pt>
    <dgm:pt modelId="{932B0E07-BDEC-46B5-A5D9-C4C81245FDC9}" type="pres">
      <dgm:prSet presAssocID="{F04E604B-304C-4E19-B4D7-CA6190FDD5E7}" presName="sibTrans" presStyleLbl="bgSibTrans2D1" presStyleIdx="7" presStyleCnt="8"/>
      <dgm:spPr/>
    </dgm:pt>
    <dgm:pt modelId="{FB4EC7D7-C458-4FAE-ADCD-6004BCD42375}" type="pres">
      <dgm:prSet presAssocID="{A2E57D5C-18F6-407F-BC6F-9DE17E6482AE}" presName="compNode" presStyleCnt="0"/>
      <dgm:spPr/>
    </dgm:pt>
    <dgm:pt modelId="{BE6CA836-1618-4286-9A38-4D77F11D1C1C}" type="pres">
      <dgm:prSet presAssocID="{A2E57D5C-18F6-407F-BC6F-9DE17E6482AE}" presName="dummyConnPt" presStyleCnt="0"/>
      <dgm:spPr/>
    </dgm:pt>
    <dgm:pt modelId="{98CD0EE2-13DD-4314-878D-D50CEB3FDAB3}" type="pres">
      <dgm:prSet presAssocID="{A2E57D5C-18F6-407F-BC6F-9DE17E6482AE}" presName="node" presStyleLbl="node1" presStyleIdx="8" presStyleCnt="9">
        <dgm:presLayoutVars>
          <dgm:bulletEnabled val="1"/>
        </dgm:presLayoutVars>
      </dgm:prSet>
      <dgm:spPr/>
    </dgm:pt>
  </dgm:ptLst>
  <dgm:cxnLst>
    <dgm:cxn modelId="{6CE2850A-661E-4A6D-9730-7EC3C60BDB8B}" type="presOf" srcId="{441906C8-2A3A-46E1-9E18-C69788B82EB6}" destId="{87B1105E-CFB8-4C12-9198-1B0E117E5FB0}" srcOrd="0" destOrd="0" presId="urn:microsoft.com/office/officeart/2005/8/layout/bProcess4"/>
    <dgm:cxn modelId="{48A9DF0C-A694-4B92-AA2A-221A1EC44044}" type="presOf" srcId="{DDC8C6AB-2DC6-42FC-BC3B-3B36B3C2BEF2}" destId="{79127FD1-CDDF-4E2E-B30A-93850B0A88D4}" srcOrd="0" destOrd="0" presId="urn:microsoft.com/office/officeart/2005/8/layout/bProcess4"/>
    <dgm:cxn modelId="{5B741F0D-2E35-489B-A511-7971EAEF3357}" srcId="{441906C8-2A3A-46E1-9E18-C69788B82EB6}" destId="{5B71D269-BCD2-4BDD-9A03-DE71BF945596}" srcOrd="0" destOrd="0" parTransId="{F486DB0F-D784-492E-B41F-825468387B79}" sibTransId="{6E46182F-122E-4CE0-8466-01BBD2567666}"/>
    <dgm:cxn modelId="{4C8B9F0E-6415-486E-B65B-2687DA3F83FC}" type="presOf" srcId="{D94FC9C7-1321-4CA9-B76B-7F673FA6C918}" destId="{569647C3-9CB2-4AA9-B6FD-F3EFB6CD5D55}" srcOrd="0" destOrd="4" presId="urn:microsoft.com/office/officeart/2005/8/layout/bProcess4"/>
    <dgm:cxn modelId="{9AA68F17-1193-431D-BDAD-EA065320FF93}" type="presOf" srcId="{A77E268A-4434-4594-9739-425478881B42}" destId="{BE260D3D-F859-4273-A9EB-C261AA065841}" srcOrd="0" destOrd="0" presId="urn:microsoft.com/office/officeart/2005/8/layout/bProcess4"/>
    <dgm:cxn modelId="{F4C57F1B-F3E6-449C-A6CD-0B4D9BD65D8B}" srcId="{97E921AC-67A6-4281-8B71-A9612CA2B9F0}" destId="{4BC17F02-5ECE-435C-A2DB-93CE3839D5D8}" srcOrd="1" destOrd="0" parTransId="{01970DDA-2ABC-4800-B8D5-2485500C26FA}" sibTransId="{9F48D7B5-E37A-482E-ADF2-ACAEB7099D7F}"/>
    <dgm:cxn modelId="{98D67428-6A70-4A38-8F7E-5D348E1E41D4}" type="presOf" srcId="{B399DFA9-B8D1-44F0-B77F-1011E379C2B9}" destId="{94DE4A59-4F65-40A1-93AF-F2D810CAA758}" srcOrd="0" destOrd="0" presId="urn:microsoft.com/office/officeart/2005/8/layout/bProcess4"/>
    <dgm:cxn modelId="{27360B3A-77FF-4E05-81A0-6C1B41A08C9C}" type="presOf" srcId="{A2E57D5C-18F6-407F-BC6F-9DE17E6482AE}" destId="{98CD0EE2-13DD-4314-878D-D50CEB3FDAB3}" srcOrd="0" destOrd="0" presId="urn:microsoft.com/office/officeart/2005/8/layout/bProcess4"/>
    <dgm:cxn modelId="{465F9D42-A1B6-4F3D-A09D-C055149713E4}" srcId="{441906C8-2A3A-46E1-9E18-C69788B82EB6}" destId="{97E921AC-67A6-4281-8B71-A9612CA2B9F0}" srcOrd="5" destOrd="0" parTransId="{5CB1EFA2-FA3B-4795-B6AE-56744BF84599}" sibTransId="{D8CC2BA5-E05D-4FB0-9E7E-76C7BE27E357}"/>
    <dgm:cxn modelId="{07F93C48-92B3-4A97-888D-B109238EE3CB}" srcId="{441906C8-2A3A-46E1-9E18-C69788B82EB6}" destId="{3CD7D229-8135-46F8-A443-D6664C733EA1}" srcOrd="7" destOrd="0" parTransId="{660F6A8E-613D-47FE-97E2-76B298D22FF6}" sibTransId="{F04E604B-304C-4E19-B4D7-CA6190FDD5E7}"/>
    <dgm:cxn modelId="{80B26152-950D-4E83-9D4E-5C5EF80079BB}" type="presOf" srcId="{406C9521-6E25-4C45-8922-2E90850CBBA6}" destId="{E995C3E1-A347-41CC-AFDC-CC11A946D501}" srcOrd="0" destOrd="0" presId="urn:microsoft.com/office/officeart/2005/8/layout/bProcess4"/>
    <dgm:cxn modelId="{AF37B17F-12BB-4342-BFC0-0CABA438AB4A}" type="presOf" srcId="{85FD8387-6654-44A4-96D8-5AF0B8FE7E03}" destId="{FB2E2F7E-8147-4F69-B39D-86D2F85B6EA3}" srcOrd="0" destOrd="0" presId="urn:microsoft.com/office/officeart/2005/8/layout/bProcess4"/>
    <dgm:cxn modelId="{B1ABD982-B1A2-4E3D-9C1E-840A5C9F09FB}" srcId="{441906C8-2A3A-46E1-9E18-C69788B82EB6}" destId="{A77E268A-4434-4594-9739-425478881B42}" srcOrd="4" destOrd="0" parTransId="{D3E6E9F6-50B5-4FBC-8164-53BCBCD27443}" sibTransId="{A835AB40-A848-4909-8941-13D886E0727B}"/>
    <dgm:cxn modelId="{7EEA3792-147B-4662-A3BC-DC2FF13FC232}" type="presOf" srcId="{3CD7D229-8135-46F8-A443-D6664C733EA1}" destId="{0D6456CB-1C9A-4FD0-8A34-EF88198165EE}" srcOrd="0" destOrd="0" presId="urn:microsoft.com/office/officeart/2005/8/layout/bProcess4"/>
    <dgm:cxn modelId="{A3B81794-0D17-4DDA-8001-3A2BA63CC31F}" type="presOf" srcId="{F04E604B-304C-4E19-B4D7-CA6190FDD5E7}" destId="{932B0E07-BDEC-46B5-A5D9-C4C81245FDC9}" srcOrd="0" destOrd="0" presId="urn:microsoft.com/office/officeart/2005/8/layout/bProcess4"/>
    <dgm:cxn modelId="{187FD29D-A8FB-41DF-A718-FF2BA046368B}" srcId="{97E921AC-67A6-4281-8B71-A9612CA2B9F0}" destId="{311BC370-2030-46B4-97ED-59740F7063B4}" srcOrd="0" destOrd="0" parTransId="{97784316-14C5-403E-8C72-708F586AC518}" sibTransId="{39574654-7442-4448-BC2F-802EA34ED8E9}"/>
    <dgm:cxn modelId="{6B577DAC-BDB7-4703-B786-F7292CE7D311}" srcId="{441906C8-2A3A-46E1-9E18-C69788B82EB6}" destId="{B399DFA9-B8D1-44F0-B77F-1011E379C2B9}" srcOrd="1" destOrd="0" parTransId="{DF4E64E2-4AC9-40D2-95F1-624E84E288C1}" sibTransId="{642EA4B3-D066-44FC-AB72-6F98593A2422}"/>
    <dgm:cxn modelId="{1CF63FAE-101E-42C8-ABA0-BE8838DD60A0}" type="presOf" srcId="{97E921AC-67A6-4281-8B71-A9612CA2B9F0}" destId="{569647C3-9CB2-4AA9-B6FD-F3EFB6CD5D55}" srcOrd="0" destOrd="0" presId="urn:microsoft.com/office/officeart/2005/8/layout/bProcess4"/>
    <dgm:cxn modelId="{C9FFD7B3-975F-4F88-A989-764DA7E5320B}" type="presOf" srcId="{9EBEB512-B79E-4AD3-BC23-3AA9ACCE2131}" destId="{EBE46FA3-3C7E-487C-83A2-4E9AAB0E1522}" srcOrd="0" destOrd="0" presId="urn:microsoft.com/office/officeart/2005/8/layout/bProcess4"/>
    <dgm:cxn modelId="{9E6D3CC1-9A57-41B3-8C58-7855402E0611}" type="presOf" srcId="{A835AB40-A848-4909-8941-13D886E0727B}" destId="{17583D0B-5ACC-40A3-9065-92F00E7FABF7}" srcOrd="0" destOrd="0" presId="urn:microsoft.com/office/officeart/2005/8/layout/bProcess4"/>
    <dgm:cxn modelId="{151242C4-2C21-4C6A-B38A-F43406162220}" type="presOf" srcId="{642EA4B3-D066-44FC-AB72-6F98593A2422}" destId="{7486ABD2-D320-47AC-86D4-63E03B0CB834}" srcOrd="0" destOrd="0" presId="urn:microsoft.com/office/officeart/2005/8/layout/bProcess4"/>
    <dgm:cxn modelId="{8B0805C6-C760-448F-8990-F848C0E2E24C}" type="presOf" srcId="{6E46182F-122E-4CE0-8466-01BBD2567666}" destId="{A1695B2E-7F68-40B9-AC43-6E8B85E147E5}" srcOrd="0" destOrd="0" presId="urn:microsoft.com/office/officeart/2005/8/layout/bProcess4"/>
    <dgm:cxn modelId="{C66B14C9-08B3-4EEC-BD88-37A1ED049469}" type="presOf" srcId="{311BC370-2030-46B4-97ED-59740F7063B4}" destId="{569647C3-9CB2-4AA9-B6FD-F3EFB6CD5D55}" srcOrd="0" destOrd="1" presId="urn:microsoft.com/office/officeart/2005/8/layout/bProcess4"/>
    <dgm:cxn modelId="{413109CA-8916-466C-8D69-835AC5F63CC0}" srcId="{97E921AC-67A6-4281-8B71-A9612CA2B9F0}" destId="{D94FC9C7-1321-4CA9-B76B-7F673FA6C918}" srcOrd="3" destOrd="0" parTransId="{BB79253B-42C8-4788-B3D7-49ECC189EA2F}" sibTransId="{BEBB1533-8228-403F-8CE5-87207F4023E2}"/>
    <dgm:cxn modelId="{5B2B53CC-B00F-4AF2-810D-9E9E4453F2C9}" srcId="{441906C8-2A3A-46E1-9E18-C69788B82EB6}" destId="{CCBCBC73-F05D-4C39-AD5D-DBAE0D1EEBEB}" srcOrd="6" destOrd="0" parTransId="{8A95EB8B-C85B-4EC3-98C1-ADE7980CCFFB}" sibTransId="{406C9521-6E25-4C45-8922-2E90850CBBA6}"/>
    <dgm:cxn modelId="{0C348BCD-5BDD-466B-B9C0-0D91348E1FED}" type="presOf" srcId="{876BFB25-D1F6-4D71-A68C-686CE40720E1}" destId="{569647C3-9CB2-4AA9-B6FD-F3EFB6CD5D55}" srcOrd="0" destOrd="3" presId="urn:microsoft.com/office/officeart/2005/8/layout/bProcess4"/>
    <dgm:cxn modelId="{03FF9ED0-88F0-4D35-8BA2-C125295DFBC9}" type="presOf" srcId="{D8CC2BA5-E05D-4FB0-9E7E-76C7BE27E357}" destId="{C0F2722F-C810-45C8-BF8B-1A95220FC98D}" srcOrd="0" destOrd="0" presId="urn:microsoft.com/office/officeart/2005/8/layout/bProcess4"/>
    <dgm:cxn modelId="{DA7769D6-FCB5-4CF3-B0FB-D2DB7767D4FB}" srcId="{441906C8-2A3A-46E1-9E18-C69788B82EB6}" destId="{DDC8C6AB-2DC6-42FC-BC3B-3B36B3C2BEF2}" srcOrd="2" destOrd="0" parTransId="{9C2FED36-3A54-4739-B9E9-C9BCEDE1C29C}" sibTransId="{9EBEB512-B79E-4AD3-BC23-3AA9ACCE2131}"/>
    <dgm:cxn modelId="{89FF8ADD-3A10-4AA3-A6C2-88BB8D1A0A15}" type="presOf" srcId="{CCBCBC73-F05D-4C39-AD5D-DBAE0D1EEBEB}" destId="{96D21F36-C101-4578-9E4A-91D7FEB6D073}" srcOrd="0" destOrd="0" presId="urn:microsoft.com/office/officeart/2005/8/layout/bProcess4"/>
    <dgm:cxn modelId="{A5B975E7-B7EB-4CD7-BF39-E14851341F70}" srcId="{441906C8-2A3A-46E1-9E18-C69788B82EB6}" destId="{A2E57D5C-18F6-407F-BC6F-9DE17E6482AE}" srcOrd="8" destOrd="0" parTransId="{8E09FA7E-AC91-447B-A137-2C353559D5A1}" sibTransId="{F9EC8201-7DF6-4F2D-8189-7ABA4DAA2C55}"/>
    <dgm:cxn modelId="{92A8B5E7-82A0-49A9-8708-AB9744CCBA4B}" type="presOf" srcId="{5B71D269-BCD2-4BDD-9A03-DE71BF945596}" destId="{9654CBAB-3135-4079-999A-6F76FD89DB6B}" srcOrd="0" destOrd="0" presId="urn:microsoft.com/office/officeart/2005/8/layout/bProcess4"/>
    <dgm:cxn modelId="{913B37F0-EB9D-4D19-B645-0813D1B886E2}" srcId="{441906C8-2A3A-46E1-9E18-C69788B82EB6}" destId="{DA216F90-C86A-4317-AC94-7472C452DC4C}" srcOrd="3" destOrd="0" parTransId="{60D8A4A5-8D3F-405F-8006-CC3318A7CE5D}" sibTransId="{85FD8387-6654-44A4-96D8-5AF0B8FE7E03}"/>
    <dgm:cxn modelId="{F7F507F9-8BF9-4714-B59D-4E4FFD2DA64A}" type="presOf" srcId="{DA216F90-C86A-4317-AC94-7472C452DC4C}" destId="{F3A074FD-35EE-4FAF-A3CB-4B531ADD6CA1}" srcOrd="0" destOrd="0" presId="urn:microsoft.com/office/officeart/2005/8/layout/bProcess4"/>
    <dgm:cxn modelId="{ED08DEFE-903E-4E21-9344-FD0658643C26}" srcId="{97E921AC-67A6-4281-8B71-A9612CA2B9F0}" destId="{876BFB25-D1F6-4D71-A68C-686CE40720E1}" srcOrd="2" destOrd="0" parTransId="{0BB65F43-BEC9-48A4-A938-CC7950FED7EE}" sibTransId="{13A49DE6-D105-4CB5-BF81-01880147AE5C}"/>
    <dgm:cxn modelId="{47AE04FF-2F74-4958-A34E-20E643882300}" type="presOf" srcId="{4BC17F02-5ECE-435C-A2DB-93CE3839D5D8}" destId="{569647C3-9CB2-4AA9-B6FD-F3EFB6CD5D55}" srcOrd="0" destOrd="2" presId="urn:microsoft.com/office/officeart/2005/8/layout/bProcess4"/>
    <dgm:cxn modelId="{C8354145-FB9C-442F-B723-4174E9CF2EAD}" type="presParOf" srcId="{87B1105E-CFB8-4C12-9198-1B0E117E5FB0}" destId="{8D29A9F0-AF0A-4809-AEFC-BC0904E206F0}" srcOrd="0" destOrd="0" presId="urn:microsoft.com/office/officeart/2005/8/layout/bProcess4"/>
    <dgm:cxn modelId="{006B7CF1-51D8-4B71-B781-22A13A26B86B}" type="presParOf" srcId="{8D29A9F0-AF0A-4809-AEFC-BC0904E206F0}" destId="{D63E3E5E-F56B-497A-9DB6-D74814C461D4}" srcOrd="0" destOrd="0" presId="urn:microsoft.com/office/officeart/2005/8/layout/bProcess4"/>
    <dgm:cxn modelId="{FDCC2404-612F-477A-903D-918F458F2BB2}" type="presParOf" srcId="{8D29A9F0-AF0A-4809-AEFC-BC0904E206F0}" destId="{9654CBAB-3135-4079-999A-6F76FD89DB6B}" srcOrd="1" destOrd="0" presId="urn:microsoft.com/office/officeart/2005/8/layout/bProcess4"/>
    <dgm:cxn modelId="{340A7C04-348A-4DB3-8B11-6D25A00BFCD9}" type="presParOf" srcId="{87B1105E-CFB8-4C12-9198-1B0E117E5FB0}" destId="{A1695B2E-7F68-40B9-AC43-6E8B85E147E5}" srcOrd="1" destOrd="0" presId="urn:microsoft.com/office/officeart/2005/8/layout/bProcess4"/>
    <dgm:cxn modelId="{4B8D5B6D-99E9-4131-A28E-AC4CFB62F67D}" type="presParOf" srcId="{87B1105E-CFB8-4C12-9198-1B0E117E5FB0}" destId="{EE3A58B4-F242-4C10-B3BE-8AC5BA36385D}" srcOrd="2" destOrd="0" presId="urn:microsoft.com/office/officeart/2005/8/layout/bProcess4"/>
    <dgm:cxn modelId="{E00D8402-117A-4D59-BEF4-5BE6C9A56FCB}" type="presParOf" srcId="{EE3A58B4-F242-4C10-B3BE-8AC5BA36385D}" destId="{6AB76CA2-71D0-4F8D-99E6-FF3392F43D7C}" srcOrd="0" destOrd="0" presId="urn:microsoft.com/office/officeart/2005/8/layout/bProcess4"/>
    <dgm:cxn modelId="{98ACA452-FCDF-4119-B449-51B91D72C383}" type="presParOf" srcId="{EE3A58B4-F242-4C10-B3BE-8AC5BA36385D}" destId="{94DE4A59-4F65-40A1-93AF-F2D810CAA758}" srcOrd="1" destOrd="0" presId="urn:microsoft.com/office/officeart/2005/8/layout/bProcess4"/>
    <dgm:cxn modelId="{E5956852-1296-4D53-99CE-ADECF2662C7B}" type="presParOf" srcId="{87B1105E-CFB8-4C12-9198-1B0E117E5FB0}" destId="{7486ABD2-D320-47AC-86D4-63E03B0CB834}" srcOrd="3" destOrd="0" presId="urn:microsoft.com/office/officeart/2005/8/layout/bProcess4"/>
    <dgm:cxn modelId="{75A86C70-2D45-4EDA-9152-BFCF905CC390}" type="presParOf" srcId="{87B1105E-CFB8-4C12-9198-1B0E117E5FB0}" destId="{1A34D852-85B6-40DD-BA11-8F79DF828F97}" srcOrd="4" destOrd="0" presId="urn:microsoft.com/office/officeart/2005/8/layout/bProcess4"/>
    <dgm:cxn modelId="{03415295-2F44-404C-A175-EDAAA6703688}" type="presParOf" srcId="{1A34D852-85B6-40DD-BA11-8F79DF828F97}" destId="{F007ADDB-86B2-4C68-8C96-F924A5711454}" srcOrd="0" destOrd="0" presId="urn:microsoft.com/office/officeart/2005/8/layout/bProcess4"/>
    <dgm:cxn modelId="{CBDFC739-DD3E-4CDD-8EA8-C76DD62D5669}" type="presParOf" srcId="{1A34D852-85B6-40DD-BA11-8F79DF828F97}" destId="{79127FD1-CDDF-4E2E-B30A-93850B0A88D4}" srcOrd="1" destOrd="0" presId="urn:microsoft.com/office/officeart/2005/8/layout/bProcess4"/>
    <dgm:cxn modelId="{242B8123-3D81-4A6C-AE80-E1789D29BE55}" type="presParOf" srcId="{87B1105E-CFB8-4C12-9198-1B0E117E5FB0}" destId="{EBE46FA3-3C7E-487C-83A2-4E9AAB0E1522}" srcOrd="5" destOrd="0" presId="urn:microsoft.com/office/officeart/2005/8/layout/bProcess4"/>
    <dgm:cxn modelId="{ABA33118-85C8-4CEE-A38C-530383471D26}" type="presParOf" srcId="{87B1105E-CFB8-4C12-9198-1B0E117E5FB0}" destId="{A157820C-0AD8-4FCF-99A4-F6FE5A8AC10E}" srcOrd="6" destOrd="0" presId="urn:microsoft.com/office/officeart/2005/8/layout/bProcess4"/>
    <dgm:cxn modelId="{12E5BDE1-7DCB-49DE-BC2E-1EB8CB81B41A}" type="presParOf" srcId="{A157820C-0AD8-4FCF-99A4-F6FE5A8AC10E}" destId="{5907A66C-8B9B-40C1-8CC8-71FD1013214E}" srcOrd="0" destOrd="0" presId="urn:microsoft.com/office/officeart/2005/8/layout/bProcess4"/>
    <dgm:cxn modelId="{5DF389EF-5591-4551-9EAE-985C76B6BB09}" type="presParOf" srcId="{A157820C-0AD8-4FCF-99A4-F6FE5A8AC10E}" destId="{F3A074FD-35EE-4FAF-A3CB-4B531ADD6CA1}" srcOrd="1" destOrd="0" presId="urn:microsoft.com/office/officeart/2005/8/layout/bProcess4"/>
    <dgm:cxn modelId="{EB9CA82C-EF64-4FEF-81B8-CDD25FB16485}" type="presParOf" srcId="{87B1105E-CFB8-4C12-9198-1B0E117E5FB0}" destId="{FB2E2F7E-8147-4F69-B39D-86D2F85B6EA3}" srcOrd="7" destOrd="0" presId="urn:microsoft.com/office/officeart/2005/8/layout/bProcess4"/>
    <dgm:cxn modelId="{3E1D7B90-7245-4BB2-8BF9-843E9D1EA228}" type="presParOf" srcId="{87B1105E-CFB8-4C12-9198-1B0E117E5FB0}" destId="{58F5EFEA-AD9B-4229-83A1-D71B81834DAE}" srcOrd="8" destOrd="0" presId="urn:microsoft.com/office/officeart/2005/8/layout/bProcess4"/>
    <dgm:cxn modelId="{F9B905AB-5106-4DA9-BE46-13F560B8A8F1}" type="presParOf" srcId="{58F5EFEA-AD9B-4229-83A1-D71B81834DAE}" destId="{6522F902-0BC4-4158-9A23-AF16C15A5D0B}" srcOrd="0" destOrd="0" presId="urn:microsoft.com/office/officeart/2005/8/layout/bProcess4"/>
    <dgm:cxn modelId="{509BCA6D-D05B-4BC2-83E0-906DE90625EC}" type="presParOf" srcId="{58F5EFEA-AD9B-4229-83A1-D71B81834DAE}" destId="{BE260D3D-F859-4273-A9EB-C261AA065841}" srcOrd="1" destOrd="0" presId="urn:microsoft.com/office/officeart/2005/8/layout/bProcess4"/>
    <dgm:cxn modelId="{94361844-D1D2-4978-8C8D-082BC66F7B82}" type="presParOf" srcId="{87B1105E-CFB8-4C12-9198-1B0E117E5FB0}" destId="{17583D0B-5ACC-40A3-9065-92F00E7FABF7}" srcOrd="9" destOrd="0" presId="urn:microsoft.com/office/officeart/2005/8/layout/bProcess4"/>
    <dgm:cxn modelId="{091450EA-4F82-4517-892A-A5F37D0339A2}" type="presParOf" srcId="{87B1105E-CFB8-4C12-9198-1B0E117E5FB0}" destId="{790323FF-8C5D-40DA-A556-AFC07ED87C47}" srcOrd="10" destOrd="0" presId="urn:microsoft.com/office/officeart/2005/8/layout/bProcess4"/>
    <dgm:cxn modelId="{9802942C-B0F3-4503-A048-4FE7F4C485BD}" type="presParOf" srcId="{790323FF-8C5D-40DA-A556-AFC07ED87C47}" destId="{FCCB0D17-D428-4362-B92C-8E693CF1BCE4}" srcOrd="0" destOrd="0" presId="urn:microsoft.com/office/officeart/2005/8/layout/bProcess4"/>
    <dgm:cxn modelId="{CE63FEE2-EB50-4C7C-A364-B01FEEEACA80}" type="presParOf" srcId="{790323FF-8C5D-40DA-A556-AFC07ED87C47}" destId="{569647C3-9CB2-4AA9-B6FD-F3EFB6CD5D55}" srcOrd="1" destOrd="0" presId="urn:microsoft.com/office/officeart/2005/8/layout/bProcess4"/>
    <dgm:cxn modelId="{68ADB542-C43C-4093-8D04-13D2474C90D5}" type="presParOf" srcId="{87B1105E-CFB8-4C12-9198-1B0E117E5FB0}" destId="{C0F2722F-C810-45C8-BF8B-1A95220FC98D}" srcOrd="11" destOrd="0" presId="urn:microsoft.com/office/officeart/2005/8/layout/bProcess4"/>
    <dgm:cxn modelId="{DBF3F1E7-1BF2-4E15-840A-93170BF1FE21}" type="presParOf" srcId="{87B1105E-CFB8-4C12-9198-1B0E117E5FB0}" destId="{458E0A9B-BC3D-4F24-A0D5-56430F4278C6}" srcOrd="12" destOrd="0" presId="urn:microsoft.com/office/officeart/2005/8/layout/bProcess4"/>
    <dgm:cxn modelId="{8EC744EC-F3CE-4A17-ADBC-551FDF6B11EE}" type="presParOf" srcId="{458E0A9B-BC3D-4F24-A0D5-56430F4278C6}" destId="{5167553E-7A80-4AB4-9690-98AD49F8EE01}" srcOrd="0" destOrd="0" presId="urn:microsoft.com/office/officeart/2005/8/layout/bProcess4"/>
    <dgm:cxn modelId="{D33F5851-BB0F-4BFF-9C27-C5417E7DBD82}" type="presParOf" srcId="{458E0A9B-BC3D-4F24-A0D5-56430F4278C6}" destId="{96D21F36-C101-4578-9E4A-91D7FEB6D073}" srcOrd="1" destOrd="0" presId="urn:microsoft.com/office/officeart/2005/8/layout/bProcess4"/>
    <dgm:cxn modelId="{60941C8E-BB07-4849-BB3C-96677E6A92E0}" type="presParOf" srcId="{87B1105E-CFB8-4C12-9198-1B0E117E5FB0}" destId="{E995C3E1-A347-41CC-AFDC-CC11A946D501}" srcOrd="13" destOrd="0" presId="urn:microsoft.com/office/officeart/2005/8/layout/bProcess4"/>
    <dgm:cxn modelId="{E0E877CA-A775-4AAA-9FD9-6E9DD01C9B2D}" type="presParOf" srcId="{87B1105E-CFB8-4C12-9198-1B0E117E5FB0}" destId="{B9CC2116-EF65-4262-8FA5-86C740E8526C}" srcOrd="14" destOrd="0" presId="urn:microsoft.com/office/officeart/2005/8/layout/bProcess4"/>
    <dgm:cxn modelId="{D5EF05D9-F801-4A7D-99B2-60D855AF5C47}" type="presParOf" srcId="{B9CC2116-EF65-4262-8FA5-86C740E8526C}" destId="{52190F3F-9874-4D6C-8C0C-B986118FEAE2}" srcOrd="0" destOrd="0" presId="urn:microsoft.com/office/officeart/2005/8/layout/bProcess4"/>
    <dgm:cxn modelId="{98596A26-7576-4C86-A55A-9CEDDB7D0D51}" type="presParOf" srcId="{B9CC2116-EF65-4262-8FA5-86C740E8526C}" destId="{0D6456CB-1C9A-4FD0-8A34-EF88198165EE}" srcOrd="1" destOrd="0" presId="urn:microsoft.com/office/officeart/2005/8/layout/bProcess4"/>
    <dgm:cxn modelId="{63B0EC7A-C1A8-4EFA-8C2B-456EA8B55A88}" type="presParOf" srcId="{87B1105E-CFB8-4C12-9198-1B0E117E5FB0}" destId="{932B0E07-BDEC-46B5-A5D9-C4C81245FDC9}" srcOrd="15" destOrd="0" presId="urn:microsoft.com/office/officeart/2005/8/layout/bProcess4"/>
    <dgm:cxn modelId="{B5E73BFE-6E7A-4F24-931D-7AA579590B01}" type="presParOf" srcId="{87B1105E-CFB8-4C12-9198-1B0E117E5FB0}" destId="{FB4EC7D7-C458-4FAE-ADCD-6004BCD42375}" srcOrd="16" destOrd="0" presId="urn:microsoft.com/office/officeart/2005/8/layout/bProcess4"/>
    <dgm:cxn modelId="{84C2F755-D205-4D9B-9E3E-B66F9460C631}" type="presParOf" srcId="{FB4EC7D7-C458-4FAE-ADCD-6004BCD42375}" destId="{BE6CA836-1618-4286-9A38-4D77F11D1C1C}" srcOrd="0" destOrd="0" presId="urn:microsoft.com/office/officeart/2005/8/layout/bProcess4"/>
    <dgm:cxn modelId="{8C12ECF0-89E5-4AAB-968F-D8EF11D95DD3}" type="presParOf" srcId="{FB4EC7D7-C458-4FAE-ADCD-6004BCD42375}" destId="{98CD0EE2-13DD-4314-878D-D50CEB3FDAB3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83499D7-429E-471A-862D-CBA9DD9B1FA5}" type="doc">
      <dgm:prSet loTypeId="urn:microsoft.com/office/officeart/2005/8/layout/radial4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F90DDED2-C5C3-4236-9D94-AF49F3E2B915}">
      <dgm:prSet phldrT="[Texto]" custT="1"/>
      <dgm:spPr>
        <a:noFill/>
        <a:ln>
          <a:noFill/>
        </a:ln>
      </dgm:spPr>
      <dgm:t>
        <a:bodyPr/>
        <a:lstStyle/>
        <a:p>
          <a:endParaRPr lang="es-EC" sz="2000" dirty="0">
            <a:solidFill>
              <a:schemeClr val="bg1"/>
            </a:solidFill>
          </a:endParaRPr>
        </a:p>
      </dgm:t>
    </dgm:pt>
    <dgm:pt modelId="{1BE48105-0045-4FA4-AC0F-434A042A4BC1}" type="parTrans" cxnId="{D73B9D95-3105-4BAA-8F1E-909509EEE3F7}">
      <dgm:prSet/>
      <dgm:spPr/>
      <dgm:t>
        <a:bodyPr/>
        <a:lstStyle/>
        <a:p>
          <a:endParaRPr lang="es-EC"/>
        </a:p>
      </dgm:t>
    </dgm:pt>
    <dgm:pt modelId="{84BD5C88-80E9-47B1-B5D9-2D8B05743087}" type="sibTrans" cxnId="{D73B9D95-3105-4BAA-8F1E-909509EEE3F7}">
      <dgm:prSet/>
      <dgm:spPr/>
      <dgm:t>
        <a:bodyPr/>
        <a:lstStyle/>
        <a:p>
          <a:endParaRPr lang="es-EC"/>
        </a:p>
      </dgm:t>
    </dgm:pt>
    <dgm:pt modelId="{19A658EC-8E42-48AC-9892-2F5B012C09EF}">
      <dgm:prSet phldrT="[Texto]"/>
      <dgm:spPr/>
      <dgm:t>
        <a:bodyPr/>
        <a:lstStyle/>
        <a:p>
          <a:r>
            <a:rPr lang="de-DE" altLang="de-DE" spc="300"/>
            <a:t>HOMBRES Y MUJERES</a:t>
          </a:r>
          <a:endParaRPr lang="es-EC" dirty="0"/>
        </a:p>
      </dgm:t>
    </dgm:pt>
    <dgm:pt modelId="{EA3E3A23-909F-42B4-86E2-2B901436040B}" type="parTrans" cxnId="{CA81AE69-956B-4B4F-97EC-2DABE4F625F9}">
      <dgm:prSet/>
      <dgm:spPr/>
      <dgm:t>
        <a:bodyPr/>
        <a:lstStyle/>
        <a:p>
          <a:endParaRPr lang="es-EC"/>
        </a:p>
      </dgm:t>
    </dgm:pt>
    <dgm:pt modelId="{CE89C9C5-63BF-42A9-AA1F-819F56F2505C}" type="sibTrans" cxnId="{CA81AE69-956B-4B4F-97EC-2DABE4F625F9}">
      <dgm:prSet/>
      <dgm:spPr/>
      <dgm:t>
        <a:bodyPr/>
        <a:lstStyle/>
        <a:p>
          <a:endParaRPr lang="es-EC"/>
        </a:p>
      </dgm:t>
    </dgm:pt>
    <dgm:pt modelId="{39FC484E-F049-4019-A575-BC09A8BD954F}">
      <dgm:prSet/>
      <dgm:spPr/>
      <dgm:t>
        <a:bodyPr/>
        <a:lstStyle/>
        <a:p>
          <a:r>
            <a:rPr lang="de-DE" altLang="de-DE" spc="300" dirty="0"/>
            <a:t>Turismo</a:t>
          </a:r>
          <a:endParaRPr lang="es-EC" dirty="0"/>
        </a:p>
      </dgm:t>
    </dgm:pt>
    <dgm:pt modelId="{842A2DFC-1E5A-4F54-8601-9E35895D5D4E}" type="parTrans" cxnId="{6D75703E-491E-490D-A799-6E382784FC56}">
      <dgm:prSet/>
      <dgm:spPr/>
      <dgm:t>
        <a:bodyPr/>
        <a:lstStyle/>
        <a:p>
          <a:endParaRPr lang="es-EC"/>
        </a:p>
      </dgm:t>
    </dgm:pt>
    <dgm:pt modelId="{EA8BE17D-6D26-43DC-90E1-9F1A2799B81A}" type="sibTrans" cxnId="{6D75703E-491E-490D-A799-6E382784FC56}">
      <dgm:prSet/>
      <dgm:spPr/>
      <dgm:t>
        <a:bodyPr/>
        <a:lstStyle/>
        <a:p>
          <a:endParaRPr lang="es-EC"/>
        </a:p>
      </dgm:t>
    </dgm:pt>
    <dgm:pt modelId="{39E83FB6-FAA6-4828-8199-477029784241}">
      <dgm:prSet/>
      <dgm:spPr/>
      <dgm:t>
        <a:bodyPr/>
        <a:lstStyle/>
        <a:p>
          <a:r>
            <a:rPr lang="de-DE" altLang="de-DE" spc="300"/>
            <a:t>Entre 18 y 41 años</a:t>
          </a:r>
          <a:endParaRPr lang="de-DE" altLang="de-DE" spc="300" dirty="0"/>
        </a:p>
      </dgm:t>
    </dgm:pt>
    <dgm:pt modelId="{F5A0E839-D335-4569-90ED-F1B635FE7FB9}" type="parTrans" cxnId="{29631945-A09E-4074-AE2A-1664B677D91A}">
      <dgm:prSet/>
      <dgm:spPr/>
      <dgm:t>
        <a:bodyPr/>
        <a:lstStyle/>
        <a:p>
          <a:endParaRPr lang="es-EC"/>
        </a:p>
      </dgm:t>
    </dgm:pt>
    <dgm:pt modelId="{B2257646-F9F9-47D6-924B-3E262417693B}" type="sibTrans" cxnId="{29631945-A09E-4074-AE2A-1664B677D91A}">
      <dgm:prSet/>
      <dgm:spPr/>
      <dgm:t>
        <a:bodyPr/>
        <a:lstStyle/>
        <a:p>
          <a:endParaRPr lang="es-EC"/>
        </a:p>
      </dgm:t>
    </dgm:pt>
    <dgm:pt modelId="{E39AC782-E2CA-4E85-8F3B-1EB47A32C3C9}">
      <dgm:prSet/>
      <dgm:spPr/>
      <dgm:t>
        <a:bodyPr/>
        <a:lstStyle/>
        <a:p>
          <a:r>
            <a:rPr lang="de-DE" altLang="de-DE" spc="300"/>
            <a:t>Nacionales</a:t>
          </a:r>
          <a:endParaRPr lang="de-DE" altLang="de-DE" spc="300" dirty="0"/>
        </a:p>
      </dgm:t>
    </dgm:pt>
    <dgm:pt modelId="{9C5D96BB-A633-49FB-8475-561EDCA149CE}" type="parTrans" cxnId="{3E4590B7-9043-4154-8088-97EC2B9445D5}">
      <dgm:prSet/>
      <dgm:spPr/>
      <dgm:t>
        <a:bodyPr/>
        <a:lstStyle/>
        <a:p>
          <a:endParaRPr lang="es-EC"/>
        </a:p>
      </dgm:t>
    </dgm:pt>
    <dgm:pt modelId="{8DEC8B8A-F39D-4B8E-BB03-35E103A9C31E}" type="sibTrans" cxnId="{3E4590B7-9043-4154-8088-97EC2B9445D5}">
      <dgm:prSet/>
      <dgm:spPr/>
      <dgm:t>
        <a:bodyPr/>
        <a:lstStyle/>
        <a:p>
          <a:endParaRPr lang="es-EC"/>
        </a:p>
      </dgm:t>
    </dgm:pt>
    <dgm:pt modelId="{778DBEA7-51AD-4068-AC6D-C82F9E4B9E10}">
      <dgm:prSet/>
      <dgm:spPr/>
      <dgm:t>
        <a:bodyPr/>
        <a:lstStyle/>
        <a:p>
          <a:r>
            <a:rPr lang="de-DE" altLang="de-DE" spc="300" dirty="0"/>
            <a:t>Estudiantes de Pregrado</a:t>
          </a:r>
        </a:p>
      </dgm:t>
    </dgm:pt>
    <dgm:pt modelId="{AA02BA43-309E-4C7C-9E92-63F67F6B1065}" type="parTrans" cxnId="{02A9504F-AE55-4029-B30F-4537AD0DEA51}">
      <dgm:prSet/>
      <dgm:spPr/>
      <dgm:t>
        <a:bodyPr/>
        <a:lstStyle/>
        <a:p>
          <a:endParaRPr lang="es-EC"/>
        </a:p>
      </dgm:t>
    </dgm:pt>
    <dgm:pt modelId="{83D2F4D8-98FB-4541-86C8-7D65D26F1CC7}" type="sibTrans" cxnId="{02A9504F-AE55-4029-B30F-4537AD0DEA51}">
      <dgm:prSet/>
      <dgm:spPr/>
      <dgm:t>
        <a:bodyPr/>
        <a:lstStyle/>
        <a:p>
          <a:endParaRPr lang="es-EC"/>
        </a:p>
      </dgm:t>
    </dgm:pt>
    <dgm:pt modelId="{37DB89BF-B5D9-4D94-8938-C444140B3A80}">
      <dgm:prSet/>
      <dgm:spPr/>
      <dgm:t>
        <a:bodyPr/>
        <a:lstStyle/>
        <a:p>
          <a:r>
            <a:rPr lang="de-DE" altLang="de-DE" spc="300"/>
            <a:t>Amigos y Familia</a:t>
          </a:r>
          <a:endParaRPr lang="de-DE" altLang="de-DE" spc="300" dirty="0"/>
        </a:p>
      </dgm:t>
    </dgm:pt>
    <dgm:pt modelId="{705CDB44-225D-4DDA-A674-A9B2E462CFDF}" type="parTrans" cxnId="{DE4CC674-24E8-4341-8873-B36D78E710DB}">
      <dgm:prSet/>
      <dgm:spPr/>
      <dgm:t>
        <a:bodyPr/>
        <a:lstStyle/>
        <a:p>
          <a:endParaRPr lang="es-EC"/>
        </a:p>
      </dgm:t>
    </dgm:pt>
    <dgm:pt modelId="{BABA67A7-7007-46A9-A2F9-946B9E224D35}" type="sibTrans" cxnId="{DE4CC674-24E8-4341-8873-B36D78E710DB}">
      <dgm:prSet/>
      <dgm:spPr/>
      <dgm:t>
        <a:bodyPr/>
        <a:lstStyle/>
        <a:p>
          <a:endParaRPr lang="es-EC"/>
        </a:p>
      </dgm:t>
    </dgm:pt>
    <dgm:pt modelId="{272E2E4E-2366-49B2-A63E-71E1C76FFFB9}" type="pres">
      <dgm:prSet presAssocID="{A83499D7-429E-471A-862D-CBA9DD9B1FA5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D328E21B-5463-4709-B04D-7DE8690CF911}" type="pres">
      <dgm:prSet presAssocID="{F90DDED2-C5C3-4236-9D94-AF49F3E2B915}" presName="centerShape" presStyleLbl="node0" presStyleIdx="0" presStyleCnt="1"/>
      <dgm:spPr/>
    </dgm:pt>
    <dgm:pt modelId="{A8F62945-A063-4510-82DA-F0B785401B38}" type="pres">
      <dgm:prSet presAssocID="{EA3E3A23-909F-42B4-86E2-2B901436040B}" presName="parTrans" presStyleLbl="bgSibTrans2D1" presStyleIdx="0" presStyleCnt="6"/>
      <dgm:spPr/>
    </dgm:pt>
    <dgm:pt modelId="{52B0D645-E26E-4831-BC4D-070DE4ABA095}" type="pres">
      <dgm:prSet presAssocID="{19A658EC-8E42-48AC-9892-2F5B012C09EF}" presName="node" presStyleLbl="node1" presStyleIdx="0" presStyleCnt="6">
        <dgm:presLayoutVars>
          <dgm:bulletEnabled val="1"/>
        </dgm:presLayoutVars>
      </dgm:prSet>
      <dgm:spPr/>
    </dgm:pt>
    <dgm:pt modelId="{A9DBE106-4860-4035-9F87-5122EFC1032B}" type="pres">
      <dgm:prSet presAssocID="{F5A0E839-D335-4569-90ED-F1B635FE7FB9}" presName="parTrans" presStyleLbl="bgSibTrans2D1" presStyleIdx="1" presStyleCnt="6"/>
      <dgm:spPr/>
    </dgm:pt>
    <dgm:pt modelId="{D3F3E18F-09C6-495D-A12A-3D29ABC577B5}" type="pres">
      <dgm:prSet presAssocID="{39E83FB6-FAA6-4828-8199-477029784241}" presName="node" presStyleLbl="node1" presStyleIdx="1" presStyleCnt="6">
        <dgm:presLayoutVars>
          <dgm:bulletEnabled val="1"/>
        </dgm:presLayoutVars>
      </dgm:prSet>
      <dgm:spPr/>
    </dgm:pt>
    <dgm:pt modelId="{13606287-FF26-4174-B78F-D903D4D7DA0A}" type="pres">
      <dgm:prSet presAssocID="{9C5D96BB-A633-49FB-8475-561EDCA149CE}" presName="parTrans" presStyleLbl="bgSibTrans2D1" presStyleIdx="2" presStyleCnt="6"/>
      <dgm:spPr/>
    </dgm:pt>
    <dgm:pt modelId="{14062CA2-7414-414F-B99F-3A56F7A601E4}" type="pres">
      <dgm:prSet presAssocID="{E39AC782-E2CA-4E85-8F3B-1EB47A32C3C9}" presName="node" presStyleLbl="node1" presStyleIdx="2" presStyleCnt="6">
        <dgm:presLayoutVars>
          <dgm:bulletEnabled val="1"/>
        </dgm:presLayoutVars>
      </dgm:prSet>
      <dgm:spPr/>
    </dgm:pt>
    <dgm:pt modelId="{F627E7F8-A1BD-424D-99A6-96719FC9D800}" type="pres">
      <dgm:prSet presAssocID="{AA02BA43-309E-4C7C-9E92-63F67F6B1065}" presName="parTrans" presStyleLbl="bgSibTrans2D1" presStyleIdx="3" presStyleCnt="6"/>
      <dgm:spPr/>
    </dgm:pt>
    <dgm:pt modelId="{C4B3F303-F6F1-445D-B5C4-6CC537A1171E}" type="pres">
      <dgm:prSet presAssocID="{778DBEA7-51AD-4068-AC6D-C82F9E4B9E10}" presName="node" presStyleLbl="node1" presStyleIdx="3" presStyleCnt="6">
        <dgm:presLayoutVars>
          <dgm:bulletEnabled val="1"/>
        </dgm:presLayoutVars>
      </dgm:prSet>
      <dgm:spPr/>
    </dgm:pt>
    <dgm:pt modelId="{8FD61029-6EDD-4637-9D97-1D3CE013EB5F}" type="pres">
      <dgm:prSet presAssocID="{842A2DFC-1E5A-4F54-8601-9E35895D5D4E}" presName="parTrans" presStyleLbl="bgSibTrans2D1" presStyleIdx="4" presStyleCnt="6"/>
      <dgm:spPr/>
    </dgm:pt>
    <dgm:pt modelId="{6E3F1B7F-F69E-4FCB-A7C6-13E52055E8A1}" type="pres">
      <dgm:prSet presAssocID="{39FC484E-F049-4019-A575-BC09A8BD954F}" presName="node" presStyleLbl="node1" presStyleIdx="4" presStyleCnt="6">
        <dgm:presLayoutVars>
          <dgm:bulletEnabled val="1"/>
        </dgm:presLayoutVars>
      </dgm:prSet>
      <dgm:spPr/>
    </dgm:pt>
    <dgm:pt modelId="{560AD671-2C5B-4AAA-8714-ECF1CD9FA125}" type="pres">
      <dgm:prSet presAssocID="{705CDB44-225D-4DDA-A674-A9B2E462CFDF}" presName="parTrans" presStyleLbl="bgSibTrans2D1" presStyleIdx="5" presStyleCnt="6"/>
      <dgm:spPr/>
    </dgm:pt>
    <dgm:pt modelId="{CCB2CD7D-62FC-456D-B116-68F4DF53A806}" type="pres">
      <dgm:prSet presAssocID="{37DB89BF-B5D9-4D94-8938-C444140B3A80}" presName="node" presStyleLbl="node1" presStyleIdx="5" presStyleCnt="6">
        <dgm:presLayoutVars>
          <dgm:bulletEnabled val="1"/>
        </dgm:presLayoutVars>
      </dgm:prSet>
      <dgm:spPr/>
    </dgm:pt>
  </dgm:ptLst>
  <dgm:cxnLst>
    <dgm:cxn modelId="{F0745711-3D91-4EBA-8D25-DF1B29A315F6}" type="presOf" srcId="{37DB89BF-B5D9-4D94-8938-C444140B3A80}" destId="{CCB2CD7D-62FC-456D-B116-68F4DF53A806}" srcOrd="0" destOrd="0" presId="urn:microsoft.com/office/officeart/2005/8/layout/radial4"/>
    <dgm:cxn modelId="{582A0015-7C9B-4E67-B3D3-349AD953F46F}" type="presOf" srcId="{19A658EC-8E42-48AC-9892-2F5B012C09EF}" destId="{52B0D645-E26E-4831-BC4D-070DE4ABA095}" srcOrd="0" destOrd="0" presId="urn:microsoft.com/office/officeart/2005/8/layout/radial4"/>
    <dgm:cxn modelId="{20EA4E34-0E8E-418B-AB84-D8BEDDA0054E}" type="presOf" srcId="{39E83FB6-FAA6-4828-8199-477029784241}" destId="{D3F3E18F-09C6-495D-A12A-3D29ABC577B5}" srcOrd="0" destOrd="0" presId="urn:microsoft.com/office/officeart/2005/8/layout/radial4"/>
    <dgm:cxn modelId="{6D75703E-491E-490D-A799-6E382784FC56}" srcId="{F90DDED2-C5C3-4236-9D94-AF49F3E2B915}" destId="{39FC484E-F049-4019-A575-BC09A8BD954F}" srcOrd="4" destOrd="0" parTransId="{842A2DFC-1E5A-4F54-8601-9E35895D5D4E}" sibTransId="{EA8BE17D-6D26-43DC-90E1-9F1A2799B81A}"/>
    <dgm:cxn modelId="{D754525E-3C29-4E10-94FB-AB4A07C077F4}" type="presOf" srcId="{39FC484E-F049-4019-A575-BC09A8BD954F}" destId="{6E3F1B7F-F69E-4FCB-A7C6-13E52055E8A1}" srcOrd="0" destOrd="0" presId="urn:microsoft.com/office/officeart/2005/8/layout/radial4"/>
    <dgm:cxn modelId="{4EBEB660-8379-4713-A2DC-95D954EF05FB}" type="presOf" srcId="{705CDB44-225D-4DDA-A674-A9B2E462CFDF}" destId="{560AD671-2C5B-4AAA-8714-ECF1CD9FA125}" srcOrd="0" destOrd="0" presId="urn:microsoft.com/office/officeart/2005/8/layout/radial4"/>
    <dgm:cxn modelId="{29631945-A09E-4074-AE2A-1664B677D91A}" srcId="{F90DDED2-C5C3-4236-9D94-AF49F3E2B915}" destId="{39E83FB6-FAA6-4828-8199-477029784241}" srcOrd="1" destOrd="0" parTransId="{F5A0E839-D335-4569-90ED-F1B635FE7FB9}" sibTransId="{B2257646-F9F9-47D6-924B-3E262417693B}"/>
    <dgm:cxn modelId="{201AE247-079F-4886-BE59-E85851543786}" type="presOf" srcId="{EA3E3A23-909F-42B4-86E2-2B901436040B}" destId="{A8F62945-A063-4510-82DA-F0B785401B38}" srcOrd="0" destOrd="0" presId="urn:microsoft.com/office/officeart/2005/8/layout/radial4"/>
    <dgm:cxn modelId="{CA81AE69-956B-4B4F-97EC-2DABE4F625F9}" srcId="{F90DDED2-C5C3-4236-9D94-AF49F3E2B915}" destId="{19A658EC-8E42-48AC-9892-2F5B012C09EF}" srcOrd="0" destOrd="0" parTransId="{EA3E3A23-909F-42B4-86E2-2B901436040B}" sibTransId="{CE89C9C5-63BF-42A9-AA1F-819F56F2505C}"/>
    <dgm:cxn modelId="{2882806D-6E6D-4F10-AED1-E1EC4AE57FA6}" type="presOf" srcId="{E39AC782-E2CA-4E85-8F3B-1EB47A32C3C9}" destId="{14062CA2-7414-414F-B99F-3A56F7A601E4}" srcOrd="0" destOrd="0" presId="urn:microsoft.com/office/officeart/2005/8/layout/radial4"/>
    <dgm:cxn modelId="{02A9504F-AE55-4029-B30F-4537AD0DEA51}" srcId="{F90DDED2-C5C3-4236-9D94-AF49F3E2B915}" destId="{778DBEA7-51AD-4068-AC6D-C82F9E4B9E10}" srcOrd="3" destOrd="0" parTransId="{AA02BA43-309E-4C7C-9E92-63F67F6B1065}" sibTransId="{83D2F4D8-98FB-4541-86C8-7D65D26F1CC7}"/>
    <dgm:cxn modelId="{DE4CC674-24E8-4341-8873-B36D78E710DB}" srcId="{F90DDED2-C5C3-4236-9D94-AF49F3E2B915}" destId="{37DB89BF-B5D9-4D94-8938-C444140B3A80}" srcOrd="5" destOrd="0" parTransId="{705CDB44-225D-4DDA-A674-A9B2E462CFDF}" sibTransId="{BABA67A7-7007-46A9-A2F9-946B9E224D35}"/>
    <dgm:cxn modelId="{E67F745A-6CA1-4156-AC7B-A5F63078656C}" type="presOf" srcId="{AA02BA43-309E-4C7C-9E92-63F67F6B1065}" destId="{F627E7F8-A1BD-424D-99A6-96719FC9D800}" srcOrd="0" destOrd="0" presId="urn:microsoft.com/office/officeart/2005/8/layout/radial4"/>
    <dgm:cxn modelId="{9141927C-BCE9-4221-9488-C59719E700CB}" type="presOf" srcId="{9C5D96BB-A633-49FB-8475-561EDCA149CE}" destId="{13606287-FF26-4174-B78F-D903D4D7DA0A}" srcOrd="0" destOrd="0" presId="urn:microsoft.com/office/officeart/2005/8/layout/radial4"/>
    <dgm:cxn modelId="{AF244D7D-7671-44B2-B0ED-AAC95E0E8F33}" type="presOf" srcId="{F90DDED2-C5C3-4236-9D94-AF49F3E2B915}" destId="{D328E21B-5463-4709-B04D-7DE8690CF911}" srcOrd="0" destOrd="0" presId="urn:microsoft.com/office/officeart/2005/8/layout/radial4"/>
    <dgm:cxn modelId="{D73B9D95-3105-4BAA-8F1E-909509EEE3F7}" srcId="{A83499D7-429E-471A-862D-CBA9DD9B1FA5}" destId="{F90DDED2-C5C3-4236-9D94-AF49F3E2B915}" srcOrd="0" destOrd="0" parTransId="{1BE48105-0045-4FA4-AC0F-434A042A4BC1}" sibTransId="{84BD5C88-80E9-47B1-B5D9-2D8B05743087}"/>
    <dgm:cxn modelId="{9B124B96-B1F0-40D9-B4F9-A6C17F4BD2F1}" type="presOf" srcId="{F5A0E839-D335-4569-90ED-F1B635FE7FB9}" destId="{A9DBE106-4860-4035-9F87-5122EFC1032B}" srcOrd="0" destOrd="0" presId="urn:microsoft.com/office/officeart/2005/8/layout/radial4"/>
    <dgm:cxn modelId="{3E4590B7-9043-4154-8088-97EC2B9445D5}" srcId="{F90DDED2-C5C3-4236-9D94-AF49F3E2B915}" destId="{E39AC782-E2CA-4E85-8F3B-1EB47A32C3C9}" srcOrd="2" destOrd="0" parTransId="{9C5D96BB-A633-49FB-8475-561EDCA149CE}" sibTransId="{8DEC8B8A-F39D-4B8E-BB03-35E103A9C31E}"/>
    <dgm:cxn modelId="{FD889CC5-2DD4-4C2B-AC2D-3011E03F1CFA}" type="presOf" srcId="{A83499D7-429E-471A-862D-CBA9DD9B1FA5}" destId="{272E2E4E-2366-49B2-A63E-71E1C76FFFB9}" srcOrd="0" destOrd="0" presId="urn:microsoft.com/office/officeart/2005/8/layout/radial4"/>
    <dgm:cxn modelId="{77629FD4-213E-4BE8-B82B-864A705F316F}" type="presOf" srcId="{842A2DFC-1E5A-4F54-8601-9E35895D5D4E}" destId="{8FD61029-6EDD-4637-9D97-1D3CE013EB5F}" srcOrd="0" destOrd="0" presId="urn:microsoft.com/office/officeart/2005/8/layout/radial4"/>
    <dgm:cxn modelId="{9C37D6EF-8090-437F-9E15-47C4437B6B18}" type="presOf" srcId="{778DBEA7-51AD-4068-AC6D-C82F9E4B9E10}" destId="{C4B3F303-F6F1-445D-B5C4-6CC537A1171E}" srcOrd="0" destOrd="0" presId="urn:microsoft.com/office/officeart/2005/8/layout/radial4"/>
    <dgm:cxn modelId="{385DE814-AC5C-4EF7-B60A-D92A30E066EF}" type="presParOf" srcId="{272E2E4E-2366-49B2-A63E-71E1C76FFFB9}" destId="{D328E21B-5463-4709-B04D-7DE8690CF911}" srcOrd="0" destOrd="0" presId="urn:microsoft.com/office/officeart/2005/8/layout/radial4"/>
    <dgm:cxn modelId="{619B52AA-DAB6-41F9-BDEF-B830E176022B}" type="presParOf" srcId="{272E2E4E-2366-49B2-A63E-71E1C76FFFB9}" destId="{A8F62945-A063-4510-82DA-F0B785401B38}" srcOrd="1" destOrd="0" presId="urn:microsoft.com/office/officeart/2005/8/layout/radial4"/>
    <dgm:cxn modelId="{1A3F1F9C-C4AD-4382-9CA9-AFA6038FF062}" type="presParOf" srcId="{272E2E4E-2366-49B2-A63E-71E1C76FFFB9}" destId="{52B0D645-E26E-4831-BC4D-070DE4ABA095}" srcOrd="2" destOrd="0" presId="urn:microsoft.com/office/officeart/2005/8/layout/radial4"/>
    <dgm:cxn modelId="{294D2FCE-A033-4032-8508-670963B7E238}" type="presParOf" srcId="{272E2E4E-2366-49B2-A63E-71E1C76FFFB9}" destId="{A9DBE106-4860-4035-9F87-5122EFC1032B}" srcOrd="3" destOrd="0" presId="urn:microsoft.com/office/officeart/2005/8/layout/radial4"/>
    <dgm:cxn modelId="{6410BFFF-FBA0-461B-B2E0-D9138D9F8E5E}" type="presParOf" srcId="{272E2E4E-2366-49B2-A63E-71E1C76FFFB9}" destId="{D3F3E18F-09C6-495D-A12A-3D29ABC577B5}" srcOrd="4" destOrd="0" presId="urn:microsoft.com/office/officeart/2005/8/layout/radial4"/>
    <dgm:cxn modelId="{2D3B49E9-6EB4-4D60-8164-A7849741E637}" type="presParOf" srcId="{272E2E4E-2366-49B2-A63E-71E1C76FFFB9}" destId="{13606287-FF26-4174-B78F-D903D4D7DA0A}" srcOrd="5" destOrd="0" presId="urn:microsoft.com/office/officeart/2005/8/layout/radial4"/>
    <dgm:cxn modelId="{1EA3D0DD-44F5-482F-B02E-F8DF6A38D506}" type="presParOf" srcId="{272E2E4E-2366-49B2-A63E-71E1C76FFFB9}" destId="{14062CA2-7414-414F-B99F-3A56F7A601E4}" srcOrd="6" destOrd="0" presId="urn:microsoft.com/office/officeart/2005/8/layout/radial4"/>
    <dgm:cxn modelId="{4B6EFE7F-0A7D-4430-8568-F56F2D19DF73}" type="presParOf" srcId="{272E2E4E-2366-49B2-A63E-71E1C76FFFB9}" destId="{F627E7F8-A1BD-424D-99A6-96719FC9D800}" srcOrd="7" destOrd="0" presId="urn:microsoft.com/office/officeart/2005/8/layout/radial4"/>
    <dgm:cxn modelId="{2D5A275E-56DE-4B3C-B887-9D58B60D28C7}" type="presParOf" srcId="{272E2E4E-2366-49B2-A63E-71E1C76FFFB9}" destId="{C4B3F303-F6F1-445D-B5C4-6CC537A1171E}" srcOrd="8" destOrd="0" presId="urn:microsoft.com/office/officeart/2005/8/layout/radial4"/>
    <dgm:cxn modelId="{3635855D-F33F-4108-9FDA-06A82BF15695}" type="presParOf" srcId="{272E2E4E-2366-49B2-A63E-71E1C76FFFB9}" destId="{8FD61029-6EDD-4637-9D97-1D3CE013EB5F}" srcOrd="9" destOrd="0" presId="urn:microsoft.com/office/officeart/2005/8/layout/radial4"/>
    <dgm:cxn modelId="{2206D9B0-3E75-40A5-A643-374BB4AE716A}" type="presParOf" srcId="{272E2E4E-2366-49B2-A63E-71E1C76FFFB9}" destId="{6E3F1B7F-F69E-4FCB-A7C6-13E52055E8A1}" srcOrd="10" destOrd="0" presId="urn:microsoft.com/office/officeart/2005/8/layout/radial4"/>
    <dgm:cxn modelId="{2F4A99E6-6F6A-4E17-8C0E-7A27ECB69A45}" type="presParOf" srcId="{272E2E4E-2366-49B2-A63E-71E1C76FFFB9}" destId="{560AD671-2C5B-4AAA-8714-ECF1CD9FA125}" srcOrd="11" destOrd="0" presId="urn:microsoft.com/office/officeart/2005/8/layout/radial4"/>
    <dgm:cxn modelId="{920A674C-E8AA-4A04-AF7F-E1C76F860B36}" type="presParOf" srcId="{272E2E4E-2366-49B2-A63E-71E1C76FFFB9}" destId="{CCB2CD7D-62FC-456D-B116-68F4DF53A806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616D8A-536B-4ED0-855E-DAE10CAFF2F9}">
      <dsp:nvSpPr>
        <dsp:cNvPr id="0" name=""/>
        <dsp:cNvSpPr/>
      </dsp:nvSpPr>
      <dsp:spPr>
        <a:xfrm rot="16200000">
          <a:off x="-1418497" y="1419489"/>
          <a:ext cx="5418667" cy="2579687"/>
        </a:xfrm>
        <a:prstGeom prst="flowChartManualOperati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1924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1" kern="1200" dirty="0"/>
            <a:t>Pacto</a:t>
          </a:r>
          <a:r>
            <a:rPr lang="es-ES" sz="2400" kern="1200" dirty="0"/>
            <a:t> </a:t>
          </a:r>
          <a:endParaRPr lang="es-EC" sz="24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Al Noroccidente de Pichincha, a 2 horas del DMQ. </a:t>
          </a:r>
          <a:endParaRPr lang="es-EC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Parte de la bio región del Chocó Andino.</a:t>
          </a:r>
          <a:endParaRPr lang="es-EC" sz="1900" kern="1200" dirty="0"/>
        </a:p>
      </dsp:txBody>
      <dsp:txXfrm rot="5400000">
        <a:off x="993" y="1083732"/>
        <a:ext cx="2579687" cy="3251201"/>
      </dsp:txXfrm>
    </dsp:sp>
    <dsp:sp modelId="{1E18ECFA-9D3A-4998-B6E5-811F9514747C}">
      <dsp:nvSpPr>
        <dsp:cNvPr id="0" name=""/>
        <dsp:cNvSpPr/>
      </dsp:nvSpPr>
      <dsp:spPr>
        <a:xfrm rot="16200000">
          <a:off x="1354666" y="1419489"/>
          <a:ext cx="5418667" cy="2579687"/>
        </a:xfrm>
        <a:prstGeom prst="flowChartManualOperation">
          <a:avLst/>
        </a:prstGeom>
        <a:solidFill>
          <a:schemeClr val="accent2">
            <a:hueOff val="2035708"/>
            <a:satOff val="-16794"/>
            <a:lumOff val="-353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1924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1" kern="1200" dirty="0"/>
            <a:t>Potencialidades</a:t>
          </a:r>
          <a:endParaRPr lang="es-EC" sz="24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Actividad agrícola, cultivos de caña, café, cacao.</a:t>
          </a:r>
          <a:endParaRPr lang="es-EC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Vestigios de la Cultura Yumbo</a:t>
          </a:r>
          <a:endParaRPr lang="es-EC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Riqueza Natural; diversidad de flora y fauna endémica.</a:t>
          </a:r>
          <a:endParaRPr lang="es-EC" sz="1900" kern="1200" dirty="0"/>
        </a:p>
      </dsp:txBody>
      <dsp:txXfrm rot="5400000">
        <a:off x="2774156" y="1083732"/>
        <a:ext cx="2579687" cy="3251201"/>
      </dsp:txXfrm>
    </dsp:sp>
    <dsp:sp modelId="{4F8D201A-FC32-4F07-A38D-894222683739}">
      <dsp:nvSpPr>
        <dsp:cNvPr id="0" name=""/>
        <dsp:cNvSpPr/>
      </dsp:nvSpPr>
      <dsp:spPr>
        <a:xfrm rot="16200000">
          <a:off x="4127830" y="1419489"/>
          <a:ext cx="5418667" cy="2579687"/>
        </a:xfrm>
        <a:prstGeom prst="flowChartManualOperation">
          <a:avLst/>
        </a:prstGeom>
        <a:solidFill>
          <a:schemeClr val="accent2">
            <a:hueOff val="4071417"/>
            <a:satOff val="-33589"/>
            <a:lumOff val="-7059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0" rIns="151924" bIns="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400" b="1" kern="1200" dirty="0"/>
            <a:t>Problemática </a:t>
          </a:r>
          <a:endParaRPr lang="es-EC" sz="2400" b="1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Baja integración de las actividades productivas con el turismo. </a:t>
          </a:r>
          <a:endParaRPr lang="es-EC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900" kern="1200" dirty="0"/>
            <a:t>Baja participación de la comunidad para un verdadero desarrollo local. </a:t>
          </a:r>
          <a:endParaRPr lang="es-EC" sz="1900" kern="1200" dirty="0"/>
        </a:p>
      </dsp:txBody>
      <dsp:txXfrm rot="5400000">
        <a:off x="5547320" y="1083732"/>
        <a:ext cx="2579687" cy="325120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FC601C-E6B1-4229-851C-631FE60D0ABF}">
      <dsp:nvSpPr>
        <dsp:cNvPr id="0" name=""/>
        <dsp:cNvSpPr/>
      </dsp:nvSpPr>
      <dsp:spPr>
        <a:xfrm>
          <a:off x="1388003" y="0"/>
          <a:ext cx="5418667" cy="5418667"/>
        </a:xfrm>
        <a:prstGeom prst="triangle">
          <a:avLst/>
        </a:prstGeom>
        <a:noFill/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F00197-DEDE-43BF-9669-07237C0C97BA}">
      <dsp:nvSpPr>
        <dsp:cNvPr id="0" name=""/>
        <dsp:cNvSpPr/>
      </dsp:nvSpPr>
      <dsp:spPr>
        <a:xfrm>
          <a:off x="4097337" y="544777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 dirty="0">
              <a:latin typeface="+mn-lt"/>
            </a:rPr>
            <a:t>Redes sociales</a:t>
          </a:r>
        </a:p>
      </dsp:txBody>
      <dsp:txXfrm>
        <a:off x="4128645" y="576085"/>
        <a:ext cx="3459517" cy="578734"/>
      </dsp:txXfrm>
    </dsp:sp>
    <dsp:sp modelId="{BF31DC8C-75D0-4B1A-90BF-BEADDCF47BF5}">
      <dsp:nvSpPr>
        <dsp:cNvPr id="0" name=""/>
        <dsp:cNvSpPr/>
      </dsp:nvSpPr>
      <dsp:spPr>
        <a:xfrm>
          <a:off x="4097337" y="1266295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>
              <a:latin typeface="+mn-lt"/>
            </a:rPr>
            <a:t>Agroturismo y turismo comunitario</a:t>
          </a:r>
          <a:endParaRPr lang="de-DE" altLang="de-DE" sz="1500" kern="1200" spc="300" dirty="0">
            <a:latin typeface="+mn-lt"/>
          </a:endParaRPr>
        </a:p>
      </dsp:txBody>
      <dsp:txXfrm>
        <a:off x="4128645" y="1297603"/>
        <a:ext cx="3459517" cy="578734"/>
      </dsp:txXfrm>
    </dsp:sp>
    <dsp:sp modelId="{24E43581-2322-4231-A92D-F64533A27645}">
      <dsp:nvSpPr>
        <dsp:cNvPr id="0" name=""/>
        <dsp:cNvSpPr/>
      </dsp:nvSpPr>
      <dsp:spPr>
        <a:xfrm>
          <a:off x="4097337" y="1987814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>
              <a:latin typeface="+mn-lt"/>
            </a:rPr>
            <a:t>Desconectarse del estres de la ciudad</a:t>
          </a:r>
          <a:endParaRPr lang="de-DE" altLang="de-DE" sz="1500" kern="1200" spc="300" dirty="0">
            <a:latin typeface="+mn-lt"/>
          </a:endParaRPr>
        </a:p>
      </dsp:txBody>
      <dsp:txXfrm>
        <a:off x="4128645" y="2019122"/>
        <a:ext cx="3459517" cy="578734"/>
      </dsp:txXfrm>
    </dsp:sp>
    <dsp:sp modelId="{8256EF77-1D04-4818-9750-3C2AD541AEEE}">
      <dsp:nvSpPr>
        <dsp:cNvPr id="0" name=""/>
        <dsp:cNvSpPr/>
      </dsp:nvSpPr>
      <dsp:spPr>
        <a:xfrm>
          <a:off x="4097337" y="2709333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>
              <a:latin typeface="+mn-lt"/>
            </a:rPr>
            <a:t>Calidad y Precio</a:t>
          </a:r>
          <a:endParaRPr lang="de-DE" altLang="de-DE" sz="1500" kern="1200" spc="300" dirty="0">
            <a:latin typeface="+mn-lt"/>
          </a:endParaRPr>
        </a:p>
      </dsp:txBody>
      <dsp:txXfrm>
        <a:off x="4128645" y="2740641"/>
        <a:ext cx="3459517" cy="578734"/>
      </dsp:txXfrm>
    </dsp:sp>
    <dsp:sp modelId="{ACA4BB44-1453-43B4-8CAA-3F9A011E5B53}">
      <dsp:nvSpPr>
        <dsp:cNvPr id="0" name=""/>
        <dsp:cNvSpPr/>
      </dsp:nvSpPr>
      <dsp:spPr>
        <a:xfrm>
          <a:off x="4097337" y="3430852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 dirty="0">
              <a:latin typeface="+mn-lt"/>
            </a:rPr>
            <a:t>Buscan visitar atractivos naturales/Agroturismo</a:t>
          </a:r>
        </a:p>
      </dsp:txBody>
      <dsp:txXfrm>
        <a:off x="4128645" y="3462160"/>
        <a:ext cx="3459517" cy="578734"/>
      </dsp:txXfrm>
    </dsp:sp>
    <dsp:sp modelId="{F740942C-E88F-462E-88E5-4DE9652650D6}">
      <dsp:nvSpPr>
        <dsp:cNvPr id="0" name=""/>
        <dsp:cNvSpPr/>
      </dsp:nvSpPr>
      <dsp:spPr>
        <a:xfrm>
          <a:off x="4097337" y="4152371"/>
          <a:ext cx="3522133" cy="641350"/>
        </a:xfrm>
        <a:prstGeom prst="round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>
              <a:latin typeface="+mn-lt"/>
            </a:rPr>
            <a:t>Visitan fines de semana</a:t>
          </a:r>
          <a:endParaRPr lang="de-DE" altLang="de-DE" sz="1500" kern="1200" spc="300" dirty="0">
            <a:latin typeface="+mn-lt"/>
          </a:endParaRPr>
        </a:p>
      </dsp:txBody>
      <dsp:txXfrm>
        <a:off x="4128645" y="4183679"/>
        <a:ext cx="3459517" cy="57873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9A0DE1-0099-4440-AAD3-04BD379A2274}">
      <dsp:nvSpPr>
        <dsp:cNvPr id="0" name=""/>
        <dsp:cNvSpPr/>
      </dsp:nvSpPr>
      <dsp:spPr>
        <a:xfrm rot="5400000">
          <a:off x="-242256" y="242617"/>
          <a:ext cx="1615045" cy="1130531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>
              <a:solidFill>
                <a:schemeClr val="bg1"/>
              </a:solidFill>
            </a:rPr>
            <a:t>Atención al cliente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2" y="565626"/>
        <a:ext cx="1130531" cy="484514"/>
      </dsp:txXfrm>
    </dsp:sp>
    <dsp:sp modelId="{713B7AAE-2767-4111-B6F5-861A1544BCE8}">
      <dsp:nvSpPr>
        <dsp:cNvPr id="0" name=""/>
        <dsp:cNvSpPr/>
      </dsp:nvSpPr>
      <dsp:spPr>
        <a:xfrm rot="5400000">
          <a:off x="3012176" y="-1844582"/>
          <a:ext cx="1049779" cy="48130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Conceptos básicos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Tipos de servicios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Retroalimentación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Taller práctico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1130532" y="88308"/>
        <a:ext cx="4761822" cy="947287"/>
      </dsp:txXfrm>
    </dsp:sp>
    <dsp:sp modelId="{24E90F79-C4D2-4229-A680-5BFDE8E95732}">
      <dsp:nvSpPr>
        <dsp:cNvPr id="0" name=""/>
        <dsp:cNvSpPr/>
      </dsp:nvSpPr>
      <dsp:spPr>
        <a:xfrm rot="5400000">
          <a:off x="-242256" y="1663584"/>
          <a:ext cx="1615045" cy="1130531"/>
        </a:xfrm>
        <a:prstGeom prst="chevron">
          <a:avLst/>
        </a:prstGeom>
        <a:solidFill>
          <a:schemeClr val="accent2">
            <a:hueOff val="2035708"/>
            <a:satOff val="-16794"/>
            <a:lumOff val="-3530"/>
            <a:alphaOff val="0"/>
          </a:schemeClr>
        </a:solidFill>
        <a:ln w="9525" cap="flat" cmpd="sng" algn="ctr">
          <a:solidFill>
            <a:schemeClr val="accent2">
              <a:hueOff val="2035708"/>
              <a:satOff val="-16794"/>
              <a:lumOff val="-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>
              <a:solidFill>
                <a:schemeClr val="bg1"/>
              </a:solidFill>
            </a:rPr>
            <a:t>Protocolos de Bioseguridad 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2" y="1986593"/>
        <a:ext cx="1130531" cy="484514"/>
      </dsp:txXfrm>
    </dsp:sp>
    <dsp:sp modelId="{B3061EC0-674C-4275-9315-83CFE9F334F8}">
      <dsp:nvSpPr>
        <dsp:cNvPr id="0" name=""/>
        <dsp:cNvSpPr/>
      </dsp:nvSpPr>
      <dsp:spPr>
        <a:xfrm rot="5400000">
          <a:off x="3012176" y="-460317"/>
          <a:ext cx="1049779" cy="48130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2035708"/>
              <a:satOff val="-16794"/>
              <a:lumOff val="-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Introducción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Técnicas de Bioseguridad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Medidas Preventivas 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Taller Práctico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1130532" y="1472573"/>
        <a:ext cx="4761822" cy="947287"/>
      </dsp:txXfrm>
    </dsp:sp>
    <dsp:sp modelId="{D42395FB-4509-4E7A-80DF-03EDE9BBCDE3}">
      <dsp:nvSpPr>
        <dsp:cNvPr id="0" name=""/>
        <dsp:cNvSpPr/>
      </dsp:nvSpPr>
      <dsp:spPr>
        <a:xfrm rot="5400000">
          <a:off x="-242256" y="3084550"/>
          <a:ext cx="1615045" cy="1130531"/>
        </a:xfrm>
        <a:prstGeom prst="chevron">
          <a:avLst/>
        </a:prstGeom>
        <a:solidFill>
          <a:schemeClr val="accent2">
            <a:hueOff val="4071417"/>
            <a:satOff val="-33589"/>
            <a:lumOff val="-7059"/>
            <a:alphaOff val="0"/>
          </a:schemeClr>
        </a:solidFill>
        <a:ln w="9525" cap="flat" cmpd="sng" algn="ctr">
          <a:solidFill>
            <a:schemeClr val="accent2">
              <a:hueOff val="4071417"/>
              <a:satOff val="-33589"/>
              <a:lumOff val="-7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>
              <a:solidFill>
                <a:schemeClr val="bg1"/>
              </a:solidFill>
            </a:rPr>
            <a:t>Servicio post Venta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2" y="3407559"/>
        <a:ext cx="1130531" cy="484514"/>
      </dsp:txXfrm>
    </dsp:sp>
    <dsp:sp modelId="{AD4BEDFE-6D43-4FE9-BC8F-BF708E21FE86}">
      <dsp:nvSpPr>
        <dsp:cNvPr id="0" name=""/>
        <dsp:cNvSpPr/>
      </dsp:nvSpPr>
      <dsp:spPr>
        <a:xfrm rot="5400000">
          <a:off x="3012176" y="960649"/>
          <a:ext cx="1049779" cy="481306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4071417"/>
              <a:satOff val="-33589"/>
              <a:lumOff val="-7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Definición servicio post venta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Técnicas de servicio post venta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Gestión de Quejas y reclamos</a:t>
          </a:r>
          <a:endParaRPr lang="es-EC" sz="1300" kern="1200" dirty="0">
            <a:solidFill>
              <a:schemeClr val="bg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>
              <a:solidFill>
                <a:schemeClr val="bg1"/>
              </a:solidFill>
            </a:rPr>
            <a:t>Seguimiento y corrección de problemas </a:t>
          </a:r>
          <a:endParaRPr lang="es-EC" sz="1300" kern="1200" dirty="0">
            <a:solidFill>
              <a:schemeClr val="bg1"/>
            </a:solidFill>
          </a:endParaRPr>
        </a:p>
      </dsp:txBody>
      <dsp:txXfrm rot="-5400000">
        <a:off x="1130532" y="2893539"/>
        <a:ext cx="4761822" cy="94728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C40360-1FBA-447E-977D-03BE95F2C6FF}">
      <dsp:nvSpPr>
        <dsp:cNvPr id="0" name=""/>
        <dsp:cNvSpPr/>
      </dsp:nvSpPr>
      <dsp:spPr>
        <a:xfrm>
          <a:off x="-6747224" y="-1031704"/>
          <a:ext cx="8030292" cy="8030292"/>
        </a:xfrm>
        <a:prstGeom prst="blockArc">
          <a:avLst>
            <a:gd name="adj1" fmla="val 18900000"/>
            <a:gd name="adj2" fmla="val 2700000"/>
            <a:gd name="adj3" fmla="val 269"/>
          </a:avLst>
        </a:pr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681C11-666A-4BFA-86E3-418B79B9B7C7}">
      <dsp:nvSpPr>
        <dsp:cNvPr id="0" name=""/>
        <dsp:cNvSpPr/>
      </dsp:nvSpPr>
      <dsp:spPr>
        <a:xfrm>
          <a:off x="560376" y="372810"/>
          <a:ext cx="8599983" cy="74609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El turismo como un sistema abierto, se relaciona con factores externos y puede convertirse en una herramienta de desarrollo integral para las comunidades con adecuada planificación. </a:t>
          </a:r>
          <a:endParaRPr lang="es-EC" sz="1400" kern="1200" dirty="0"/>
        </a:p>
      </dsp:txBody>
      <dsp:txXfrm>
        <a:off x="560376" y="372810"/>
        <a:ext cx="8599983" cy="746099"/>
      </dsp:txXfrm>
    </dsp:sp>
    <dsp:sp modelId="{EF546BB7-4EF9-4C86-B0AF-36C510F00607}">
      <dsp:nvSpPr>
        <dsp:cNvPr id="0" name=""/>
        <dsp:cNvSpPr/>
      </dsp:nvSpPr>
      <dsp:spPr>
        <a:xfrm>
          <a:off x="94064" y="279548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040533-359E-4D3D-A46A-BDE6C4CFE3D4}">
      <dsp:nvSpPr>
        <dsp:cNvPr id="0" name=""/>
        <dsp:cNvSpPr/>
      </dsp:nvSpPr>
      <dsp:spPr>
        <a:xfrm>
          <a:off x="1095009" y="1491601"/>
          <a:ext cx="8065350" cy="746099"/>
        </a:xfrm>
        <a:prstGeom prst="rect">
          <a:avLst/>
        </a:prstGeom>
        <a:solidFill>
          <a:schemeClr val="accent5">
            <a:hueOff val="181227"/>
            <a:satOff val="8671"/>
            <a:lumOff val="-647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Diagnostico situacional: La Parroquia Pacto posee Fortalezas y debilidades para el desarrollo del turismo rural. </a:t>
          </a:r>
          <a:endParaRPr lang="es-EC" sz="1400" kern="1200" dirty="0"/>
        </a:p>
      </dsp:txBody>
      <dsp:txXfrm>
        <a:off x="1095009" y="1491601"/>
        <a:ext cx="8065350" cy="746099"/>
      </dsp:txXfrm>
    </dsp:sp>
    <dsp:sp modelId="{AB7B8155-7828-4310-9770-C7F932AC22F3}">
      <dsp:nvSpPr>
        <dsp:cNvPr id="0" name=""/>
        <dsp:cNvSpPr/>
      </dsp:nvSpPr>
      <dsp:spPr>
        <a:xfrm>
          <a:off x="628697" y="1398339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181227"/>
              <a:satOff val="8671"/>
              <a:lumOff val="-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12766-E82D-452F-998E-5BD4ACC88C82}">
      <dsp:nvSpPr>
        <dsp:cNvPr id="0" name=""/>
        <dsp:cNvSpPr/>
      </dsp:nvSpPr>
      <dsp:spPr>
        <a:xfrm>
          <a:off x="1259098" y="2610392"/>
          <a:ext cx="7901261" cy="746099"/>
        </a:xfrm>
        <a:prstGeom prst="rect">
          <a:avLst/>
        </a:prstGeom>
        <a:solidFill>
          <a:schemeClr val="accent5">
            <a:hueOff val="362454"/>
            <a:satOff val="17342"/>
            <a:lumOff val="-1294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Resultados de entrevista y encuesta a la comunidad: Existe el apoyo e interés por parte de la comunidad y su representante para las actividades turísticas.   </a:t>
          </a:r>
          <a:endParaRPr lang="es-EC" sz="1400" kern="1200" dirty="0"/>
        </a:p>
      </dsp:txBody>
      <dsp:txXfrm>
        <a:off x="1259098" y="2610392"/>
        <a:ext cx="7901261" cy="746099"/>
      </dsp:txXfrm>
    </dsp:sp>
    <dsp:sp modelId="{5E8A15BE-10EC-4B9E-BEE7-AFFCF79C345B}">
      <dsp:nvSpPr>
        <dsp:cNvPr id="0" name=""/>
        <dsp:cNvSpPr/>
      </dsp:nvSpPr>
      <dsp:spPr>
        <a:xfrm>
          <a:off x="792786" y="2517130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362454"/>
              <a:satOff val="17342"/>
              <a:lumOff val="-12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D85AB1-4BE2-4C95-84F2-A004E631F6DA}">
      <dsp:nvSpPr>
        <dsp:cNvPr id="0" name=""/>
        <dsp:cNvSpPr/>
      </dsp:nvSpPr>
      <dsp:spPr>
        <a:xfrm>
          <a:off x="1095009" y="3729183"/>
          <a:ext cx="8065350" cy="746099"/>
        </a:xfrm>
        <a:prstGeom prst="rect">
          <a:avLst/>
        </a:prstGeom>
        <a:solidFill>
          <a:schemeClr val="accent5">
            <a:hueOff val="543680"/>
            <a:satOff val="26013"/>
            <a:lumOff val="-1941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Perfil del visitante: Hombres y mujeres entre los 18 y 29 años de nacionalidad ecuatoriana, con estudios de pregrado. Viajan con la motivación de hacer turismo en espacios abiertos.</a:t>
          </a:r>
          <a:endParaRPr lang="es-EC" sz="1400" kern="1200" dirty="0"/>
        </a:p>
      </dsp:txBody>
      <dsp:txXfrm>
        <a:off x="1095009" y="3729183"/>
        <a:ext cx="8065350" cy="746099"/>
      </dsp:txXfrm>
    </dsp:sp>
    <dsp:sp modelId="{EC160F4C-67A8-476F-AA27-CD4B15BA3B37}">
      <dsp:nvSpPr>
        <dsp:cNvPr id="0" name=""/>
        <dsp:cNvSpPr/>
      </dsp:nvSpPr>
      <dsp:spPr>
        <a:xfrm>
          <a:off x="628697" y="3635920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543680"/>
              <a:satOff val="26013"/>
              <a:lumOff val="-194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9D640E-21BA-4FCF-B690-E7C154F2CC55}">
      <dsp:nvSpPr>
        <dsp:cNvPr id="0" name=""/>
        <dsp:cNvSpPr/>
      </dsp:nvSpPr>
      <dsp:spPr>
        <a:xfrm>
          <a:off x="560376" y="4847973"/>
          <a:ext cx="8599983" cy="746099"/>
        </a:xfrm>
        <a:prstGeom prst="rect">
          <a:avLst/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Propuestas estratégicas  como una ruta turística, plan de marketing, capacitación a prestadores y publicidad exterior para  consolidar al turismo rural con un elemento de dinamización para el desarrollo local de la parroquia. </a:t>
          </a:r>
          <a:endParaRPr lang="es-EC" sz="1400" kern="1200" dirty="0"/>
        </a:p>
      </dsp:txBody>
      <dsp:txXfrm>
        <a:off x="560376" y="4847973"/>
        <a:ext cx="8599983" cy="746099"/>
      </dsp:txXfrm>
    </dsp:sp>
    <dsp:sp modelId="{45B800AD-F155-4ADE-8396-B02C1DBF336A}">
      <dsp:nvSpPr>
        <dsp:cNvPr id="0" name=""/>
        <dsp:cNvSpPr/>
      </dsp:nvSpPr>
      <dsp:spPr>
        <a:xfrm>
          <a:off x="94064" y="4754711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724907"/>
              <a:satOff val="34684"/>
              <a:lumOff val="-25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C40360-1FBA-447E-977D-03BE95F2C6FF}">
      <dsp:nvSpPr>
        <dsp:cNvPr id="0" name=""/>
        <dsp:cNvSpPr/>
      </dsp:nvSpPr>
      <dsp:spPr>
        <a:xfrm>
          <a:off x="-6747224" y="-1031704"/>
          <a:ext cx="8030292" cy="8030292"/>
        </a:xfrm>
        <a:prstGeom prst="blockArc">
          <a:avLst>
            <a:gd name="adj1" fmla="val 18900000"/>
            <a:gd name="adj2" fmla="val 2700000"/>
            <a:gd name="adj3" fmla="val 269"/>
          </a:avLst>
        </a:pr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681C11-666A-4BFA-86E3-418B79B9B7C7}">
      <dsp:nvSpPr>
        <dsp:cNvPr id="0" name=""/>
        <dsp:cNvSpPr/>
      </dsp:nvSpPr>
      <dsp:spPr>
        <a:xfrm>
          <a:off x="560376" y="372810"/>
          <a:ext cx="8599983" cy="74609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Planificación y gestión turística  a cargo de profesionales en el área. </a:t>
          </a:r>
          <a:endParaRPr lang="es-EC" sz="1400" kern="1200" dirty="0"/>
        </a:p>
      </dsp:txBody>
      <dsp:txXfrm>
        <a:off x="560376" y="372810"/>
        <a:ext cx="8599983" cy="746099"/>
      </dsp:txXfrm>
    </dsp:sp>
    <dsp:sp modelId="{EF546BB7-4EF9-4C86-B0AF-36C510F00607}">
      <dsp:nvSpPr>
        <dsp:cNvPr id="0" name=""/>
        <dsp:cNvSpPr/>
      </dsp:nvSpPr>
      <dsp:spPr>
        <a:xfrm>
          <a:off x="94064" y="279548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040533-359E-4D3D-A46A-BDE6C4CFE3D4}">
      <dsp:nvSpPr>
        <dsp:cNvPr id="0" name=""/>
        <dsp:cNvSpPr/>
      </dsp:nvSpPr>
      <dsp:spPr>
        <a:xfrm>
          <a:off x="1095009" y="1491601"/>
          <a:ext cx="8065350" cy="746099"/>
        </a:xfrm>
        <a:prstGeom prst="rect">
          <a:avLst/>
        </a:prstGeom>
        <a:solidFill>
          <a:schemeClr val="accent5">
            <a:hueOff val="181227"/>
            <a:satOff val="8671"/>
            <a:lumOff val="-647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Apoyo de instituciones académicas, gubernamentales y no gubernamentales para contrarrestar </a:t>
          </a:r>
          <a:r>
            <a:rPr lang="es-ES" sz="1400" kern="1200" dirty="0" err="1"/>
            <a:t>deilidades</a:t>
          </a:r>
          <a:r>
            <a:rPr lang="es-ES" sz="1400" kern="1200" dirty="0"/>
            <a:t>. </a:t>
          </a:r>
          <a:endParaRPr lang="es-EC" sz="1400" kern="1200" dirty="0"/>
        </a:p>
      </dsp:txBody>
      <dsp:txXfrm>
        <a:off x="1095009" y="1491601"/>
        <a:ext cx="8065350" cy="746099"/>
      </dsp:txXfrm>
    </dsp:sp>
    <dsp:sp modelId="{AB7B8155-7828-4310-9770-C7F932AC22F3}">
      <dsp:nvSpPr>
        <dsp:cNvPr id="0" name=""/>
        <dsp:cNvSpPr/>
      </dsp:nvSpPr>
      <dsp:spPr>
        <a:xfrm>
          <a:off x="628697" y="1398339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181227"/>
              <a:satOff val="8671"/>
              <a:lumOff val="-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12766-E82D-452F-998E-5BD4ACC88C82}">
      <dsp:nvSpPr>
        <dsp:cNvPr id="0" name=""/>
        <dsp:cNvSpPr/>
      </dsp:nvSpPr>
      <dsp:spPr>
        <a:xfrm>
          <a:off x="1259098" y="2610392"/>
          <a:ext cx="7901261" cy="746099"/>
        </a:xfrm>
        <a:prstGeom prst="rect">
          <a:avLst/>
        </a:prstGeom>
        <a:solidFill>
          <a:schemeClr val="accent5">
            <a:hueOff val="362454"/>
            <a:satOff val="17342"/>
            <a:lumOff val="-1294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Priorizar proyectos turísticos dentro de la parroquia.</a:t>
          </a:r>
          <a:endParaRPr lang="es-EC" sz="1400" kern="1200" dirty="0"/>
        </a:p>
      </dsp:txBody>
      <dsp:txXfrm>
        <a:off x="1259098" y="2610392"/>
        <a:ext cx="7901261" cy="746099"/>
      </dsp:txXfrm>
    </dsp:sp>
    <dsp:sp modelId="{5E8A15BE-10EC-4B9E-BEE7-AFFCF79C345B}">
      <dsp:nvSpPr>
        <dsp:cNvPr id="0" name=""/>
        <dsp:cNvSpPr/>
      </dsp:nvSpPr>
      <dsp:spPr>
        <a:xfrm>
          <a:off x="792786" y="2517130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362454"/>
              <a:satOff val="17342"/>
              <a:lumOff val="-129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D85AB1-4BE2-4C95-84F2-A004E631F6DA}">
      <dsp:nvSpPr>
        <dsp:cNvPr id="0" name=""/>
        <dsp:cNvSpPr/>
      </dsp:nvSpPr>
      <dsp:spPr>
        <a:xfrm>
          <a:off x="1095009" y="3729183"/>
          <a:ext cx="8065350" cy="746099"/>
        </a:xfrm>
        <a:prstGeom prst="rect">
          <a:avLst/>
        </a:prstGeom>
        <a:solidFill>
          <a:schemeClr val="accent5">
            <a:hueOff val="543680"/>
            <a:satOff val="26013"/>
            <a:lumOff val="-1941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Invertir  en </a:t>
          </a:r>
          <a:r>
            <a:rPr lang="es-EC" sz="1400" kern="1200" dirty="0"/>
            <a:t>el desarrollo de medios digitales oficiales de la parroquia y contenido publicitario de calidad que pueda ser difundido para llegar a públicos objetivos y potenciales</a:t>
          </a:r>
          <a:r>
            <a:rPr lang="es-ES" sz="1400" kern="1200" dirty="0"/>
            <a:t>.</a:t>
          </a:r>
          <a:endParaRPr lang="es-EC" sz="1400" kern="1200" dirty="0"/>
        </a:p>
      </dsp:txBody>
      <dsp:txXfrm>
        <a:off x="1095009" y="3729183"/>
        <a:ext cx="8065350" cy="746099"/>
      </dsp:txXfrm>
    </dsp:sp>
    <dsp:sp modelId="{EC160F4C-67A8-476F-AA27-CD4B15BA3B37}">
      <dsp:nvSpPr>
        <dsp:cNvPr id="0" name=""/>
        <dsp:cNvSpPr/>
      </dsp:nvSpPr>
      <dsp:spPr>
        <a:xfrm>
          <a:off x="628697" y="3635920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543680"/>
              <a:satOff val="26013"/>
              <a:lumOff val="-194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9D640E-21BA-4FCF-B690-E7C154F2CC55}">
      <dsp:nvSpPr>
        <dsp:cNvPr id="0" name=""/>
        <dsp:cNvSpPr/>
      </dsp:nvSpPr>
      <dsp:spPr>
        <a:xfrm>
          <a:off x="560376" y="4847973"/>
          <a:ext cx="8599983" cy="746099"/>
        </a:xfrm>
        <a:prstGeom prst="rect">
          <a:avLst/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9221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400" kern="1200" dirty="0"/>
            <a:t>Es recomendable que las estrategias propuestas en el presente trabajo sean desarrolladas de forma continua, ya que permitiría el aprovechamiento del potencial turístico de la parroquia Pacto </a:t>
          </a:r>
        </a:p>
      </dsp:txBody>
      <dsp:txXfrm>
        <a:off x="560376" y="4847973"/>
        <a:ext cx="8599983" cy="746099"/>
      </dsp:txXfrm>
    </dsp:sp>
    <dsp:sp modelId="{45B800AD-F155-4ADE-8396-B02C1DBF336A}">
      <dsp:nvSpPr>
        <dsp:cNvPr id="0" name=""/>
        <dsp:cNvSpPr/>
      </dsp:nvSpPr>
      <dsp:spPr>
        <a:xfrm>
          <a:off x="94064" y="4754711"/>
          <a:ext cx="932623" cy="93262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724907"/>
              <a:satOff val="34684"/>
              <a:lumOff val="-25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5BFEA2-0CD4-453C-8685-F73B3AFD8C7D}">
      <dsp:nvSpPr>
        <dsp:cNvPr id="0" name=""/>
        <dsp:cNvSpPr/>
      </dsp:nvSpPr>
      <dsp:spPr>
        <a:xfrm>
          <a:off x="1175780" y="1291914"/>
          <a:ext cx="3875743" cy="3875743"/>
        </a:xfrm>
        <a:prstGeom prst="ellipse">
          <a:avLst/>
        </a:prstGeom>
        <a:solidFill>
          <a:schemeClr val="accent1">
            <a:shade val="90000"/>
            <a:hueOff val="781747"/>
            <a:satOff val="0"/>
            <a:lumOff val="39034"/>
            <a:alphaOff val="-5000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52EADA-FAF4-4171-AAC3-6EB1C1BB835A}">
      <dsp:nvSpPr>
        <dsp:cNvPr id="0" name=""/>
        <dsp:cNvSpPr/>
      </dsp:nvSpPr>
      <dsp:spPr>
        <a:xfrm>
          <a:off x="1737556" y="1845822"/>
          <a:ext cx="2767926" cy="2767926"/>
        </a:xfrm>
        <a:prstGeom prst="ellipse">
          <a:avLst/>
        </a:prstGeom>
        <a:solidFill>
          <a:schemeClr val="accent1">
            <a:shade val="90000"/>
            <a:hueOff val="521165"/>
            <a:satOff val="0"/>
            <a:lumOff val="26023"/>
            <a:alphaOff val="-33333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8E0493-91F7-471E-8736-A852E1FF2371}">
      <dsp:nvSpPr>
        <dsp:cNvPr id="0" name=""/>
        <dsp:cNvSpPr/>
      </dsp:nvSpPr>
      <dsp:spPr>
        <a:xfrm>
          <a:off x="2291141" y="2399408"/>
          <a:ext cx="1660756" cy="1660756"/>
        </a:xfrm>
        <a:prstGeom prst="ellipse">
          <a:avLst/>
        </a:prstGeom>
        <a:solidFill>
          <a:schemeClr val="accent1">
            <a:shade val="90000"/>
            <a:hueOff val="260582"/>
            <a:satOff val="0"/>
            <a:lumOff val="13011"/>
            <a:alphaOff val="-16667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141E82-8A43-4499-A21C-DEAF0834CB56}">
      <dsp:nvSpPr>
        <dsp:cNvPr id="0" name=""/>
        <dsp:cNvSpPr/>
      </dsp:nvSpPr>
      <dsp:spPr>
        <a:xfrm>
          <a:off x="2844727" y="2952993"/>
          <a:ext cx="553585" cy="553585"/>
        </a:xfrm>
        <a:prstGeom prst="ellipse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1CFA47-989E-4429-8460-D468FD959429}">
      <dsp:nvSpPr>
        <dsp:cNvPr id="0" name=""/>
        <dsp:cNvSpPr/>
      </dsp:nvSpPr>
      <dsp:spPr>
        <a:xfrm>
          <a:off x="5162250" y="318054"/>
          <a:ext cx="5359978" cy="926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6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Establecer</a:t>
          </a:r>
          <a:r>
            <a:rPr lang="es-EC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el marco teórico y referencial del tema de estudio a través de la revisión de literatura y estado del arte para comprender las bases teóricas y alinear la investigación</a:t>
          </a:r>
        </a:p>
      </dsp:txBody>
      <dsp:txXfrm>
        <a:off x="5162250" y="318054"/>
        <a:ext cx="5359978" cy="926948"/>
      </dsp:txXfrm>
    </dsp:sp>
    <dsp:sp modelId="{C03C574A-28FC-4C28-B96C-0A59CA8104D0}">
      <dsp:nvSpPr>
        <dsp:cNvPr id="0" name=""/>
        <dsp:cNvSpPr/>
      </dsp:nvSpPr>
      <dsp:spPr>
        <a:xfrm>
          <a:off x="5220880" y="463474"/>
          <a:ext cx="48446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E97692-EE2E-44D2-93CF-2677D0A43827}">
      <dsp:nvSpPr>
        <dsp:cNvPr id="0" name=""/>
        <dsp:cNvSpPr/>
      </dsp:nvSpPr>
      <dsp:spPr>
        <a:xfrm rot="5400000">
          <a:off x="2785622" y="768689"/>
          <a:ext cx="2738858" cy="2131658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10CB7A-2BE3-4729-A447-914AA1209D10}">
      <dsp:nvSpPr>
        <dsp:cNvPr id="0" name=""/>
        <dsp:cNvSpPr/>
      </dsp:nvSpPr>
      <dsp:spPr>
        <a:xfrm>
          <a:off x="5157202" y="1325564"/>
          <a:ext cx="5340038" cy="926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6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Realizar</a:t>
          </a:r>
          <a:r>
            <a:rPr lang="es-EC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un diagnóstico de la situación actual de la parroquia rural de Pacto a través de la investigación de campo y bibliográfica</a:t>
          </a:r>
        </a:p>
      </dsp:txBody>
      <dsp:txXfrm>
        <a:off x="5157202" y="1325564"/>
        <a:ext cx="5340038" cy="926948"/>
      </dsp:txXfrm>
    </dsp:sp>
    <dsp:sp modelId="{E15147D6-5A82-4536-B5D7-41BB651F7847}">
      <dsp:nvSpPr>
        <dsp:cNvPr id="0" name=""/>
        <dsp:cNvSpPr/>
      </dsp:nvSpPr>
      <dsp:spPr>
        <a:xfrm>
          <a:off x="5220880" y="1390422"/>
          <a:ext cx="48446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61D428-1B5C-4C76-BEA4-4AFA319F897B}">
      <dsp:nvSpPr>
        <dsp:cNvPr id="0" name=""/>
        <dsp:cNvSpPr/>
      </dsp:nvSpPr>
      <dsp:spPr>
        <a:xfrm rot="5400000">
          <a:off x="3259754" y="1680457"/>
          <a:ext cx="2249223" cy="1669799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DBCD72-1759-454F-B170-0D48D873484D}">
      <dsp:nvSpPr>
        <dsp:cNvPr id="0" name=""/>
        <dsp:cNvSpPr/>
      </dsp:nvSpPr>
      <dsp:spPr>
        <a:xfrm>
          <a:off x="5176193" y="2208418"/>
          <a:ext cx="5275584" cy="926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6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Analizar</a:t>
          </a:r>
          <a:r>
            <a:rPr lang="es-EC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los resultados obtenidos mediante herramientas metodológicas aplicadas para evaluar la viabilidad del tema</a:t>
          </a:r>
        </a:p>
      </dsp:txBody>
      <dsp:txXfrm>
        <a:off x="5176193" y="2208418"/>
        <a:ext cx="5275584" cy="926948"/>
      </dsp:txXfrm>
    </dsp:sp>
    <dsp:sp modelId="{2E9F7500-5BDD-48ED-A927-D0A48EFD140E}">
      <dsp:nvSpPr>
        <dsp:cNvPr id="0" name=""/>
        <dsp:cNvSpPr/>
      </dsp:nvSpPr>
      <dsp:spPr>
        <a:xfrm>
          <a:off x="5220880" y="2317371"/>
          <a:ext cx="48446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44F6F1-11FF-4BCD-9876-CBD53DED59E8}">
      <dsp:nvSpPr>
        <dsp:cNvPr id="0" name=""/>
        <dsp:cNvSpPr/>
      </dsp:nvSpPr>
      <dsp:spPr>
        <a:xfrm rot="5400000">
          <a:off x="3718707" y="2530214"/>
          <a:ext cx="1715662" cy="128868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2FAEC9-15A0-4684-BCF4-FA8983196927}">
      <dsp:nvSpPr>
        <dsp:cNvPr id="0" name=""/>
        <dsp:cNvSpPr/>
      </dsp:nvSpPr>
      <dsp:spPr>
        <a:xfrm>
          <a:off x="5140629" y="3072389"/>
          <a:ext cx="5434606" cy="9269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20320" bIns="2032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6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roponer </a:t>
          </a:r>
          <a:r>
            <a:rPr lang="es-EC" sz="16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estrategias para el posicionamiento turístico rural de la parroquia Pacto y su desarrollo local</a:t>
          </a:r>
        </a:p>
      </dsp:txBody>
      <dsp:txXfrm>
        <a:off x="5140629" y="3072389"/>
        <a:ext cx="5434606" cy="926948"/>
      </dsp:txXfrm>
    </dsp:sp>
    <dsp:sp modelId="{CA5DA88E-E116-4C45-9AFE-66A7814A6F1F}">
      <dsp:nvSpPr>
        <dsp:cNvPr id="0" name=""/>
        <dsp:cNvSpPr/>
      </dsp:nvSpPr>
      <dsp:spPr>
        <a:xfrm>
          <a:off x="5220880" y="3244320"/>
          <a:ext cx="484467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307AD5-8028-4A13-83A1-D58C1667436A}">
      <dsp:nvSpPr>
        <dsp:cNvPr id="0" name=""/>
        <dsp:cNvSpPr/>
      </dsp:nvSpPr>
      <dsp:spPr>
        <a:xfrm rot="5400000">
          <a:off x="4178758" y="3383330"/>
          <a:ext cx="1179259" cy="90046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92BB3C-0165-47D3-9E86-41C8B77666A3}">
      <dsp:nvSpPr>
        <dsp:cNvPr id="0" name=""/>
        <dsp:cNvSpPr/>
      </dsp:nvSpPr>
      <dsp:spPr>
        <a:xfrm>
          <a:off x="1667" y="837025"/>
          <a:ext cx="1625876" cy="5037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Velásquez 1986</a:t>
          </a:r>
          <a:endParaRPr lang="es-EC" sz="1300" kern="1200" dirty="0"/>
        </a:p>
      </dsp:txBody>
      <dsp:txXfrm>
        <a:off x="1667" y="837025"/>
        <a:ext cx="1625876" cy="503751"/>
      </dsp:txXfrm>
    </dsp:sp>
    <dsp:sp modelId="{8DDD133F-B983-447E-8924-DFD9B74135B7}">
      <dsp:nvSpPr>
        <dsp:cNvPr id="0" name=""/>
        <dsp:cNvSpPr/>
      </dsp:nvSpPr>
      <dsp:spPr>
        <a:xfrm>
          <a:off x="1667" y="1340777"/>
          <a:ext cx="1625876" cy="19983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Unión de procesos sociales culturales, políticos, económicos</a:t>
          </a:r>
          <a:endParaRPr lang="es-EC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Ventajas y oportunidades  con base al entorno</a:t>
          </a:r>
          <a:endParaRPr lang="es-EC" sz="1300" kern="1200" dirty="0"/>
        </a:p>
      </dsp:txBody>
      <dsp:txXfrm>
        <a:off x="1667" y="1340777"/>
        <a:ext cx="1625876" cy="1998360"/>
      </dsp:txXfrm>
    </dsp:sp>
    <dsp:sp modelId="{6D681A34-32BA-46FD-897F-DEDD92719FD4}">
      <dsp:nvSpPr>
        <dsp:cNvPr id="0" name=""/>
        <dsp:cNvSpPr/>
      </dsp:nvSpPr>
      <dsp:spPr>
        <a:xfrm>
          <a:off x="1855166" y="837025"/>
          <a:ext cx="1625876" cy="503751"/>
        </a:xfrm>
        <a:prstGeom prst="rect">
          <a:avLst/>
        </a:prstGeom>
        <a:solidFill>
          <a:schemeClr val="accent2">
            <a:hueOff val="2035708"/>
            <a:satOff val="-16794"/>
            <a:lumOff val="-3530"/>
            <a:alphaOff val="0"/>
          </a:schemeClr>
        </a:solidFill>
        <a:ln w="9525" cap="flat" cmpd="sng" algn="ctr">
          <a:solidFill>
            <a:schemeClr val="accent2">
              <a:hueOff val="2035708"/>
              <a:satOff val="-16794"/>
              <a:lumOff val="-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Barquero 2000</a:t>
          </a:r>
          <a:endParaRPr lang="es-EC" sz="1300" kern="1200" dirty="0"/>
        </a:p>
      </dsp:txBody>
      <dsp:txXfrm>
        <a:off x="1855166" y="837025"/>
        <a:ext cx="1625876" cy="503751"/>
      </dsp:txXfrm>
    </dsp:sp>
    <dsp:sp modelId="{737E0734-2664-454E-A527-BFA924C2999E}">
      <dsp:nvSpPr>
        <dsp:cNvPr id="0" name=""/>
        <dsp:cNvSpPr/>
      </dsp:nvSpPr>
      <dsp:spPr>
        <a:xfrm>
          <a:off x="1855166" y="1340777"/>
          <a:ext cx="1625876" cy="1998360"/>
        </a:xfrm>
        <a:prstGeom prst="rect">
          <a:avLst/>
        </a:prstGeom>
        <a:solidFill>
          <a:schemeClr val="accent2">
            <a:tint val="40000"/>
            <a:alpha val="90000"/>
            <a:hueOff val="2410784"/>
            <a:satOff val="-22543"/>
            <a:lumOff val="-1467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2410784"/>
              <a:satOff val="-22543"/>
              <a:lumOff val="-146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Proceso de crecimiento y cambio estructural</a:t>
          </a:r>
          <a:endParaRPr lang="es-EC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Aprovechamiento del potencial para lograra el bienestar</a:t>
          </a:r>
          <a:endParaRPr lang="es-EC" sz="1300" kern="1200" dirty="0"/>
        </a:p>
      </dsp:txBody>
      <dsp:txXfrm>
        <a:off x="1855166" y="1340777"/>
        <a:ext cx="1625876" cy="1998360"/>
      </dsp:txXfrm>
    </dsp:sp>
    <dsp:sp modelId="{84C6E47E-B503-45FB-AE25-DD450A244734}">
      <dsp:nvSpPr>
        <dsp:cNvPr id="0" name=""/>
        <dsp:cNvSpPr/>
      </dsp:nvSpPr>
      <dsp:spPr>
        <a:xfrm>
          <a:off x="3708665" y="837025"/>
          <a:ext cx="1625876" cy="503751"/>
        </a:xfrm>
        <a:prstGeom prst="rect">
          <a:avLst/>
        </a:prstGeom>
        <a:solidFill>
          <a:schemeClr val="accent2">
            <a:hueOff val="4071417"/>
            <a:satOff val="-33589"/>
            <a:lumOff val="-7059"/>
            <a:alphaOff val="0"/>
          </a:schemeClr>
        </a:solidFill>
        <a:ln w="9525" cap="flat" cmpd="sng" algn="ctr">
          <a:solidFill>
            <a:schemeClr val="accent2">
              <a:hueOff val="4071417"/>
              <a:satOff val="-33589"/>
              <a:lumOff val="-7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Coffey &amp;</a:t>
          </a:r>
          <a:r>
            <a:rPr lang="es-ES" sz="1300" kern="1200" dirty="0" err="1"/>
            <a:t>Polesse</a:t>
          </a:r>
          <a:r>
            <a:rPr lang="es-ES" sz="1300" kern="1200" dirty="0"/>
            <a:t> 2007</a:t>
          </a:r>
          <a:endParaRPr lang="es-EC" sz="1300" kern="1200" dirty="0"/>
        </a:p>
      </dsp:txBody>
      <dsp:txXfrm>
        <a:off x="3708665" y="837025"/>
        <a:ext cx="1625876" cy="503751"/>
      </dsp:txXfrm>
    </dsp:sp>
    <dsp:sp modelId="{3C788717-F6DC-4953-A351-1DEDAC8B6050}">
      <dsp:nvSpPr>
        <dsp:cNvPr id="0" name=""/>
        <dsp:cNvSpPr/>
      </dsp:nvSpPr>
      <dsp:spPr>
        <a:xfrm>
          <a:off x="3708665" y="1340777"/>
          <a:ext cx="1625876" cy="1998360"/>
        </a:xfrm>
        <a:prstGeom prst="rect">
          <a:avLst/>
        </a:prstGeom>
        <a:solidFill>
          <a:schemeClr val="accent2">
            <a:tint val="40000"/>
            <a:alpha val="90000"/>
            <a:hueOff val="4821567"/>
            <a:satOff val="-45086"/>
            <a:lumOff val="-2933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4821567"/>
              <a:satOff val="-45086"/>
              <a:lumOff val="-29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Procesos de crecimiento</a:t>
          </a:r>
          <a:endParaRPr lang="es-EC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Factor económico, socio cultural, político administrativo.</a:t>
          </a:r>
          <a:endParaRPr lang="es-EC" sz="1300" kern="1200" dirty="0"/>
        </a:p>
      </dsp:txBody>
      <dsp:txXfrm>
        <a:off x="3708665" y="1340777"/>
        <a:ext cx="1625876" cy="19983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1A49DE-649A-4FCF-A914-BF0292BF358B}">
      <dsp:nvSpPr>
        <dsp:cNvPr id="0" name=""/>
        <dsp:cNvSpPr/>
      </dsp:nvSpPr>
      <dsp:spPr>
        <a:xfrm>
          <a:off x="1868290" y="545711"/>
          <a:ext cx="3642670" cy="3642670"/>
        </a:xfrm>
        <a:prstGeom prst="blockArc">
          <a:avLst>
            <a:gd name="adj1" fmla="val 10800413"/>
            <a:gd name="adj2" fmla="val 16200000"/>
            <a:gd name="adj3" fmla="val 4636"/>
          </a:avLst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D0EA32-BC95-4366-BF22-BF63EEA0A5CF}">
      <dsp:nvSpPr>
        <dsp:cNvPr id="0" name=""/>
        <dsp:cNvSpPr/>
      </dsp:nvSpPr>
      <dsp:spPr>
        <a:xfrm>
          <a:off x="1868290" y="545498"/>
          <a:ext cx="3642670" cy="3642670"/>
        </a:xfrm>
        <a:prstGeom prst="blockArc">
          <a:avLst>
            <a:gd name="adj1" fmla="val 5400000"/>
            <a:gd name="adj2" fmla="val 10800000"/>
            <a:gd name="adj3" fmla="val 4636"/>
          </a:avLst>
        </a:prstGeom>
        <a:solidFill>
          <a:schemeClr val="accent5">
            <a:hueOff val="483272"/>
            <a:satOff val="23123"/>
            <a:lumOff val="-172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4A57E5-51B8-4492-896A-831CB550807C}">
      <dsp:nvSpPr>
        <dsp:cNvPr id="0" name=""/>
        <dsp:cNvSpPr/>
      </dsp:nvSpPr>
      <dsp:spPr>
        <a:xfrm>
          <a:off x="1868290" y="545498"/>
          <a:ext cx="3642670" cy="3642670"/>
        </a:xfrm>
        <a:prstGeom prst="blockArc">
          <a:avLst>
            <a:gd name="adj1" fmla="val 0"/>
            <a:gd name="adj2" fmla="val 5400000"/>
            <a:gd name="adj3" fmla="val 4636"/>
          </a:avLst>
        </a:prstGeom>
        <a:solidFill>
          <a:schemeClr val="accent5">
            <a:hueOff val="241636"/>
            <a:satOff val="11561"/>
            <a:lumOff val="-862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F5D9D3-374E-4FF5-9F5C-6D11DE408B5C}">
      <dsp:nvSpPr>
        <dsp:cNvPr id="0" name=""/>
        <dsp:cNvSpPr/>
      </dsp:nvSpPr>
      <dsp:spPr>
        <a:xfrm>
          <a:off x="1868290" y="545711"/>
          <a:ext cx="3642670" cy="3642670"/>
        </a:xfrm>
        <a:prstGeom prst="blockArc">
          <a:avLst>
            <a:gd name="adj1" fmla="val 16200000"/>
            <a:gd name="adj2" fmla="val 21599587"/>
            <a:gd name="adj3" fmla="val 4636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939BD2-88D7-4A47-B4CA-666A6F58B720}">
      <dsp:nvSpPr>
        <dsp:cNvPr id="0" name=""/>
        <dsp:cNvSpPr/>
      </dsp:nvSpPr>
      <dsp:spPr>
        <a:xfrm>
          <a:off x="2738506" y="1529100"/>
          <a:ext cx="1902239" cy="1675464"/>
        </a:xfrm>
        <a:prstGeom prst="ellipse">
          <a:avLst/>
        </a:prstGeom>
        <a:solidFill>
          <a:schemeClr val="bg2">
            <a:lumMod val="75000"/>
            <a:lumOff val="2500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/>
            <a:t>Desarrollo local</a:t>
          </a:r>
          <a:endParaRPr lang="es-EC" sz="2000" kern="1200" dirty="0"/>
        </a:p>
      </dsp:txBody>
      <dsp:txXfrm>
        <a:off x="3017082" y="1774466"/>
        <a:ext cx="1345087" cy="1184732"/>
      </dsp:txXfrm>
    </dsp:sp>
    <dsp:sp modelId="{B269BFD3-A91D-431A-AE89-FC848A839914}">
      <dsp:nvSpPr>
        <dsp:cNvPr id="0" name=""/>
        <dsp:cNvSpPr/>
      </dsp:nvSpPr>
      <dsp:spPr>
        <a:xfrm>
          <a:off x="3103213" y="1"/>
          <a:ext cx="1172825" cy="1175863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Económico</a:t>
          </a:r>
          <a:endParaRPr lang="es-EC" sz="1400" kern="1200" dirty="0"/>
        </a:p>
      </dsp:txBody>
      <dsp:txXfrm>
        <a:off x="3274969" y="172202"/>
        <a:ext cx="829313" cy="831461"/>
      </dsp:txXfrm>
    </dsp:sp>
    <dsp:sp modelId="{65706B1C-0B78-4668-BE88-3D2BBE2AC8A1}">
      <dsp:nvSpPr>
        <dsp:cNvPr id="0" name=""/>
        <dsp:cNvSpPr/>
      </dsp:nvSpPr>
      <dsp:spPr>
        <a:xfrm>
          <a:off x="4882326" y="1780420"/>
          <a:ext cx="1172825" cy="1172825"/>
        </a:xfrm>
        <a:prstGeom prst="ellipse">
          <a:avLst/>
        </a:prstGeom>
        <a:solidFill>
          <a:schemeClr val="accent5">
            <a:hueOff val="241636"/>
            <a:satOff val="11561"/>
            <a:lumOff val="-8627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Socio cultural</a:t>
          </a:r>
          <a:endParaRPr lang="es-EC" sz="1400" kern="1200" dirty="0"/>
        </a:p>
      </dsp:txBody>
      <dsp:txXfrm>
        <a:off x="5054082" y="1952176"/>
        <a:ext cx="829313" cy="829313"/>
      </dsp:txXfrm>
    </dsp:sp>
    <dsp:sp modelId="{A4B6AA0D-CFD0-46AF-993E-AE84248CD977}">
      <dsp:nvSpPr>
        <dsp:cNvPr id="0" name=""/>
        <dsp:cNvSpPr/>
      </dsp:nvSpPr>
      <dsp:spPr>
        <a:xfrm>
          <a:off x="3103213" y="3559534"/>
          <a:ext cx="1172825" cy="1172825"/>
        </a:xfrm>
        <a:prstGeom prst="ellipse">
          <a:avLst/>
        </a:prstGeom>
        <a:solidFill>
          <a:schemeClr val="accent5">
            <a:hueOff val="483272"/>
            <a:satOff val="23123"/>
            <a:lumOff val="-17255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Ambiental</a:t>
          </a:r>
          <a:endParaRPr lang="es-EC" sz="1400" kern="1200" dirty="0"/>
        </a:p>
      </dsp:txBody>
      <dsp:txXfrm>
        <a:off x="3274969" y="3731290"/>
        <a:ext cx="829313" cy="829313"/>
      </dsp:txXfrm>
    </dsp:sp>
    <dsp:sp modelId="{CE7AD3DD-664D-43D0-B2F0-FCB5375D54E1}">
      <dsp:nvSpPr>
        <dsp:cNvPr id="0" name=""/>
        <dsp:cNvSpPr/>
      </dsp:nvSpPr>
      <dsp:spPr>
        <a:xfrm>
          <a:off x="1324099" y="1780420"/>
          <a:ext cx="1172825" cy="1172825"/>
        </a:xfrm>
        <a:prstGeom prst="ellipse">
          <a:avLst/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400" kern="1200" dirty="0"/>
            <a:t>Político administrativo</a:t>
          </a:r>
          <a:endParaRPr lang="es-EC" sz="1400" kern="1200" dirty="0"/>
        </a:p>
      </dsp:txBody>
      <dsp:txXfrm>
        <a:off x="1495855" y="1952176"/>
        <a:ext cx="829313" cy="82931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BBB426-7925-4D55-8FB5-9E030FB9B137}">
      <dsp:nvSpPr>
        <dsp:cNvPr id="0" name=""/>
        <dsp:cNvSpPr/>
      </dsp:nvSpPr>
      <dsp:spPr>
        <a:xfrm>
          <a:off x="0" y="0"/>
          <a:ext cx="10164417" cy="1733941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 dirty="0"/>
            <a:t>Samuel Pérez 2010</a:t>
          </a:r>
          <a:endParaRPr lang="es-EC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500" i="1" kern="1200" dirty="0"/>
            <a:t>El valor estratégico del turismo rural como alternativa sostenible de desarrollo territorial rural.</a:t>
          </a:r>
          <a:endParaRPr lang="es-EC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500" kern="1200" dirty="0"/>
            <a:t>Se basa en principios ambientales, económico, sociales, culturales y políticos que se relacionan entre sí.</a:t>
          </a:r>
          <a:endParaRPr lang="es-EC" sz="1500" kern="1200" dirty="0"/>
        </a:p>
      </dsp:txBody>
      <dsp:txXfrm>
        <a:off x="2206277" y="0"/>
        <a:ext cx="7958139" cy="1733941"/>
      </dsp:txXfrm>
    </dsp:sp>
    <dsp:sp modelId="{D3DF5ACC-93B1-436A-A471-D47606B76C8C}">
      <dsp:nvSpPr>
        <dsp:cNvPr id="0" name=""/>
        <dsp:cNvSpPr/>
      </dsp:nvSpPr>
      <dsp:spPr>
        <a:xfrm>
          <a:off x="173394" y="173394"/>
          <a:ext cx="2032883" cy="138715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rcRect/>
          <a:stretch>
            <a:fillRect l="-31000" r="-31000"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0AAF4B-D796-4F34-9BF8-287D73FCD071}">
      <dsp:nvSpPr>
        <dsp:cNvPr id="0" name=""/>
        <dsp:cNvSpPr/>
      </dsp:nvSpPr>
      <dsp:spPr>
        <a:xfrm>
          <a:off x="0" y="1907335"/>
          <a:ext cx="10164417" cy="1733941"/>
        </a:xfrm>
        <a:prstGeom prst="roundRect">
          <a:avLst>
            <a:gd name="adj" fmla="val 10000"/>
          </a:avLst>
        </a:prstGeom>
        <a:solidFill>
          <a:schemeClr val="accent5">
            <a:hueOff val="362454"/>
            <a:satOff val="17342"/>
            <a:lumOff val="-1294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 dirty="0"/>
            <a:t>Ana Aparicio 2004</a:t>
          </a:r>
          <a:endParaRPr lang="es-EC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500" i="1" kern="1200" dirty="0"/>
            <a:t>El Turismo Rural: Una de las Alternativas al Desarrollo Rural en la Serranía de Cuenca</a:t>
          </a:r>
          <a:endParaRPr lang="es-EC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500" kern="1200" dirty="0"/>
            <a:t>El TR por si solo no puede ser motor de desarrollo, más si puede integrarse con las demás actividades productivas del territorio y debe basarse en principios de sostenibilidad. </a:t>
          </a:r>
          <a:endParaRPr lang="es-EC" sz="1500" kern="1200" dirty="0"/>
        </a:p>
      </dsp:txBody>
      <dsp:txXfrm>
        <a:off x="2206277" y="1907335"/>
        <a:ext cx="7958139" cy="1733941"/>
      </dsp:txXfrm>
    </dsp:sp>
    <dsp:sp modelId="{F2EEE610-CEAD-44B9-8BF1-AE0498BE5E06}">
      <dsp:nvSpPr>
        <dsp:cNvPr id="0" name=""/>
        <dsp:cNvSpPr/>
      </dsp:nvSpPr>
      <dsp:spPr>
        <a:xfrm>
          <a:off x="173394" y="2080729"/>
          <a:ext cx="2032883" cy="138715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rcRect/>
          <a:stretch>
            <a:fillRect l="-13000" r="-13000"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B66CB6-C4E9-4954-83B3-10CB1BACA90F}">
      <dsp:nvSpPr>
        <dsp:cNvPr id="0" name=""/>
        <dsp:cNvSpPr/>
      </dsp:nvSpPr>
      <dsp:spPr>
        <a:xfrm>
          <a:off x="0" y="3814670"/>
          <a:ext cx="10164417" cy="1733941"/>
        </a:xfrm>
        <a:prstGeom prst="roundRect">
          <a:avLst>
            <a:gd name="adj" fmla="val 10000"/>
          </a:avLst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kern="1200" dirty="0"/>
            <a:t>Daniela Plaza 2013</a:t>
          </a:r>
          <a:endParaRPr lang="es-EC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500" i="1" kern="1200" dirty="0"/>
            <a:t>Turismo Rural como Actividad dinamizadora del Desarrollo Local en la Comuna de Curicó</a:t>
          </a:r>
          <a:endParaRPr lang="es-EC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500" kern="1200" dirty="0"/>
            <a:t>Considerar al TR como un eje principal de los territorios rurales si se complementa con sus atractivos y planta turística genera mejoras en la calidad de Vida y genera diversificación productiva.</a:t>
          </a:r>
          <a:endParaRPr lang="es-EC" sz="1500" kern="1200" dirty="0"/>
        </a:p>
      </dsp:txBody>
      <dsp:txXfrm>
        <a:off x="2206277" y="3814670"/>
        <a:ext cx="7958139" cy="1733941"/>
      </dsp:txXfrm>
    </dsp:sp>
    <dsp:sp modelId="{820F6070-149F-428B-8C66-02BDE47B5DEA}">
      <dsp:nvSpPr>
        <dsp:cNvPr id="0" name=""/>
        <dsp:cNvSpPr/>
      </dsp:nvSpPr>
      <dsp:spPr>
        <a:xfrm>
          <a:off x="173394" y="3988064"/>
          <a:ext cx="2032883" cy="138715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rcRect/>
          <a:stretch>
            <a:fillRect l="-13000" r="-13000"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FD0CB4-7DFE-4B11-81E6-5EC5D6511E54}">
      <dsp:nvSpPr>
        <dsp:cNvPr id="0" name=""/>
        <dsp:cNvSpPr/>
      </dsp:nvSpPr>
      <dsp:spPr>
        <a:xfrm>
          <a:off x="3009" y="114835"/>
          <a:ext cx="2933807" cy="117352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b="1" kern="1200" dirty="0">
              <a:solidFill>
                <a:schemeClr val="tx1"/>
              </a:solidFill>
            </a:rPr>
            <a:t>Constitución de la Republica del Ecuador 2008</a:t>
          </a:r>
          <a:endParaRPr lang="es-EC" sz="1700" b="1" kern="1200" dirty="0">
            <a:solidFill>
              <a:schemeClr val="tx1"/>
            </a:solidFill>
          </a:endParaRPr>
        </a:p>
      </dsp:txBody>
      <dsp:txXfrm>
        <a:off x="3009" y="114835"/>
        <a:ext cx="2933807" cy="1173523"/>
      </dsp:txXfrm>
    </dsp:sp>
    <dsp:sp modelId="{D92A5745-F004-4C00-909B-0C413DAA1837}">
      <dsp:nvSpPr>
        <dsp:cNvPr id="0" name=""/>
        <dsp:cNvSpPr/>
      </dsp:nvSpPr>
      <dsp:spPr>
        <a:xfrm>
          <a:off x="3009" y="1288359"/>
          <a:ext cx="2933807" cy="199638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kern="1200" dirty="0"/>
            <a:t>Art. 238, 255, 267; Autonomía de los </a:t>
          </a:r>
          <a:r>
            <a:rPr lang="es-ES" sz="1600" kern="1200" dirty="0" err="1"/>
            <a:t>Gads</a:t>
          </a:r>
          <a:r>
            <a:rPr lang="es-ES" sz="1600" kern="1200" dirty="0"/>
            <a:t> y competencias. </a:t>
          </a:r>
          <a:endParaRPr lang="es-EC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600" kern="1200" dirty="0"/>
            <a:t>Incentivar el desarrollo de las comunidades y proteger la biodiversidad.</a:t>
          </a:r>
        </a:p>
      </dsp:txBody>
      <dsp:txXfrm>
        <a:off x="3009" y="1288359"/>
        <a:ext cx="2933807" cy="1996387"/>
      </dsp:txXfrm>
    </dsp:sp>
    <dsp:sp modelId="{914DE455-DDC4-44B8-8959-165B4EF0719C}">
      <dsp:nvSpPr>
        <dsp:cNvPr id="0" name=""/>
        <dsp:cNvSpPr/>
      </dsp:nvSpPr>
      <dsp:spPr>
        <a:xfrm>
          <a:off x="3347550" y="114835"/>
          <a:ext cx="2933807" cy="117352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b="1" kern="1200" dirty="0">
              <a:solidFill>
                <a:schemeClr val="tx1"/>
              </a:solidFill>
            </a:rPr>
            <a:t>Código orgánico de organización territorial, autonomía y descentralización </a:t>
          </a:r>
          <a:endParaRPr lang="es-EC" sz="1700" b="1" kern="1200" dirty="0">
            <a:solidFill>
              <a:schemeClr val="tx1"/>
            </a:solidFill>
          </a:endParaRPr>
        </a:p>
      </dsp:txBody>
      <dsp:txXfrm>
        <a:off x="3347550" y="114835"/>
        <a:ext cx="2933807" cy="1173523"/>
      </dsp:txXfrm>
    </dsp:sp>
    <dsp:sp modelId="{870F882F-FF3B-4D65-AA62-5FC9ED027250}">
      <dsp:nvSpPr>
        <dsp:cNvPr id="0" name=""/>
        <dsp:cNvSpPr/>
      </dsp:nvSpPr>
      <dsp:spPr>
        <a:xfrm>
          <a:off x="3347550" y="1288359"/>
          <a:ext cx="2933807" cy="1996387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kern="1200" dirty="0"/>
            <a:t>Art. 4, 65: Principios y funciones de los </a:t>
          </a:r>
          <a:r>
            <a:rPr lang="es-ES" sz="1600" kern="1200" dirty="0" err="1"/>
            <a:t>Gads</a:t>
          </a:r>
          <a:endParaRPr lang="es-EC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600" kern="1200" dirty="0"/>
            <a:t>El desarrollo planificado participativamente para transformar la realidad y el impulso de la economía</a:t>
          </a:r>
        </a:p>
      </dsp:txBody>
      <dsp:txXfrm>
        <a:off x="3347550" y="1288359"/>
        <a:ext cx="2933807" cy="1996387"/>
      </dsp:txXfrm>
    </dsp:sp>
    <dsp:sp modelId="{0202B011-59D7-4565-9A72-A47417F25A31}">
      <dsp:nvSpPr>
        <dsp:cNvPr id="0" name=""/>
        <dsp:cNvSpPr/>
      </dsp:nvSpPr>
      <dsp:spPr>
        <a:xfrm>
          <a:off x="6692091" y="114835"/>
          <a:ext cx="2933807" cy="117352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69088" rIns="120904" bIns="69088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700" b="1" kern="1200" dirty="0">
              <a:solidFill>
                <a:schemeClr val="tx1"/>
              </a:solidFill>
            </a:rPr>
            <a:t>Ley de Turismo </a:t>
          </a:r>
          <a:endParaRPr lang="es-EC" sz="1700" b="1" kern="1200" dirty="0">
            <a:solidFill>
              <a:schemeClr val="tx1"/>
            </a:solidFill>
          </a:endParaRPr>
        </a:p>
      </dsp:txBody>
      <dsp:txXfrm>
        <a:off x="6692091" y="114835"/>
        <a:ext cx="2933807" cy="1173523"/>
      </dsp:txXfrm>
    </dsp:sp>
    <dsp:sp modelId="{ACFCF2E8-67AA-4EE4-94AE-12E7839F34FC}">
      <dsp:nvSpPr>
        <dsp:cNvPr id="0" name=""/>
        <dsp:cNvSpPr/>
      </dsp:nvSpPr>
      <dsp:spPr>
        <a:xfrm>
          <a:off x="6692091" y="1288359"/>
          <a:ext cx="2933807" cy="1996387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kern="1200" dirty="0"/>
            <a:t>Art. 12 y 15; Actividades turísticas y MINTUR.</a:t>
          </a:r>
          <a:endParaRPr lang="es-EC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600" kern="1200" dirty="0"/>
            <a:t>El </a:t>
          </a:r>
          <a:r>
            <a:rPr lang="es-ES" sz="1600" kern="1200" dirty="0" err="1"/>
            <a:t>Mintur</a:t>
          </a:r>
          <a:r>
            <a:rPr lang="es-ES" sz="1600" kern="1200" dirty="0"/>
            <a:t> deberá prestar las facilidades a las comunidades para su inserción en la actividad turística. </a:t>
          </a:r>
          <a:endParaRPr lang="es-EC" sz="1600" kern="1200" dirty="0"/>
        </a:p>
      </dsp:txBody>
      <dsp:txXfrm>
        <a:off x="6692091" y="1288359"/>
        <a:ext cx="2933807" cy="199638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1321EE-A293-4326-AFB5-05EC612C829A}">
      <dsp:nvSpPr>
        <dsp:cNvPr id="0" name=""/>
        <dsp:cNvSpPr/>
      </dsp:nvSpPr>
      <dsp:spPr>
        <a:xfrm>
          <a:off x="4387003" y="3053715"/>
          <a:ext cx="3732318" cy="3732318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400" kern="1200" dirty="0">
              <a:latin typeface="+mj-lt"/>
            </a:rPr>
            <a:t>Necesidade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400" kern="1200" dirty="0"/>
            <a:t>Bajo presupuesto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400" kern="1200" dirty="0"/>
            <a:t>Capacitación técnica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400" kern="1200" dirty="0"/>
            <a:t>Red vial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C" sz="1400" kern="1200" dirty="0"/>
        </a:p>
      </dsp:txBody>
      <dsp:txXfrm>
        <a:off x="5137365" y="3927993"/>
        <a:ext cx="2231594" cy="1918488"/>
      </dsp:txXfrm>
    </dsp:sp>
    <dsp:sp modelId="{0AB3ABB6-0605-4A5E-9B74-A103922DEFDF}">
      <dsp:nvSpPr>
        <dsp:cNvPr id="0" name=""/>
        <dsp:cNvSpPr/>
      </dsp:nvSpPr>
      <dsp:spPr>
        <a:xfrm>
          <a:off x="2215472" y="2171530"/>
          <a:ext cx="2714413" cy="2714413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500" kern="1200" dirty="0"/>
            <a:t>Generación de nuevos proyectos para el desarrollo del turismo</a:t>
          </a:r>
        </a:p>
      </dsp:txBody>
      <dsp:txXfrm>
        <a:off x="2898834" y="2859022"/>
        <a:ext cx="1347689" cy="1339429"/>
      </dsp:txXfrm>
    </dsp:sp>
    <dsp:sp modelId="{A67E1E46-9379-4998-A731-BA76DFCE4D20}">
      <dsp:nvSpPr>
        <dsp:cNvPr id="0" name=""/>
        <dsp:cNvSpPr/>
      </dsp:nvSpPr>
      <dsp:spPr>
        <a:xfrm rot="20700000">
          <a:off x="3735821" y="298862"/>
          <a:ext cx="2659571" cy="2659571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500" kern="1200" dirty="0"/>
            <a:t>Conscientes de la riqueza natural y de los beneficios del turismo</a:t>
          </a:r>
        </a:p>
      </dsp:txBody>
      <dsp:txXfrm rot="-20700000">
        <a:off x="4319142" y="882184"/>
        <a:ext cx="1492927" cy="1492927"/>
      </dsp:txXfrm>
    </dsp:sp>
    <dsp:sp modelId="{EDAA9B07-AA73-4FFF-86B1-81C9567BCF8A}">
      <dsp:nvSpPr>
        <dsp:cNvPr id="0" name=""/>
        <dsp:cNvSpPr/>
      </dsp:nvSpPr>
      <dsp:spPr>
        <a:xfrm>
          <a:off x="4129374" y="2473658"/>
          <a:ext cx="4777367" cy="4777367"/>
        </a:xfrm>
        <a:prstGeom prst="circularArrow">
          <a:avLst>
            <a:gd name="adj1" fmla="val 4688"/>
            <a:gd name="adj2" fmla="val 299029"/>
            <a:gd name="adj3" fmla="val 2556029"/>
            <a:gd name="adj4" fmla="val 15777928"/>
            <a:gd name="adj5" fmla="val 5469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0552F5-6AB2-4960-85D3-F4484B4E1F7F}">
      <dsp:nvSpPr>
        <dsp:cNvPr id="0" name=""/>
        <dsp:cNvSpPr/>
      </dsp:nvSpPr>
      <dsp:spPr>
        <a:xfrm>
          <a:off x="1734754" y="1559811"/>
          <a:ext cx="3471056" cy="347105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798C73-80DB-435B-9D1A-9FB517536D92}">
      <dsp:nvSpPr>
        <dsp:cNvPr id="0" name=""/>
        <dsp:cNvSpPr/>
      </dsp:nvSpPr>
      <dsp:spPr>
        <a:xfrm>
          <a:off x="3120634" y="-294806"/>
          <a:ext cx="3742497" cy="3742497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695B2E-7F68-40B9-AC43-6E8B85E147E5}">
      <dsp:nvSpPr>
        <dsp:cNvPr id="0" name=""/>
        <dsp:cNvSpPr/>
      </dsp:nvSpPr>
      <dsp:spPr>
        <a:xfrm rot="5400000">
          <a:off x="2282661" y="976018"/>
          <a:ext cx="1529620" cy="18424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54CBAB-3135-4079-999A-6F76FD89DB6B}">
      <dsp:nvSpPr>
        <dsp:cNvPr id="0" name=""/>
        <dsp:cNvSpPr/>
      </dsp:nvSpPr>
      <dsp:spPr>
        <a:xfrm>
          <a:off x="2635145" y="71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Hombres y Mujeres</a:t>
          </a:r>
        </a:p>
      </dsp:txBody>
      <dsp:txXfrm>
        <a:off x="2671121" y="36690"/>
        <a:ext cx="1975240" cy="1156363"/>
      </dsp:txXfrm>
    </dsp:sp>
    <dsp:sp modelId="{7486ABD2-D320-47AC-86D4-63E03B0CB834}">
      <dsp:nvSpPr>
        <dsp:cNvPr id="0" name=""/>
        <dsp:cNvSpPr/>
      </dsp:nvSpPr>
      <dsp:spPr>
        <a:xfrm rot="5400000">
          <a:off x="2282661" y="2511413"/>
          <a:ext cx="1529620" cy="184247"/>
        </a:xfrm>
        <a:prstGeom prst="rect">
          <a:avLst/>
        </a:prstGeom>
        <a:solidFill>
          <a:schemeClr val="accent5">
            <a:hueOff val="103558"/>
            <a:satOff val="4955"/>
            <a:lumOff val="-369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E4A59-4F65-40A1-93AF-F2D810CAA758}">
      <dsp:nvSpPr>
        <dsp:cNvPr id="0" name=""/>
        <dsp:cNvSpPr/>
      </dsp:nvSpPr>
      <dsp:spPr>
        <a:xfrm>
          <a:off x="2635145" y="1536109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90613"/>
            <a:satOff val="4335"/>
            <a:lumOff val="-3235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Entre 30 y 53 años</a:t>
          </a:r>
        </a:p>
      </dsp:txBody>
      <dsp:txXfrm>
        <a:off x="2671121" y="1572085"/>
        <a:ext cx="1975240" cy="1156363"/>
      </dsp:txXfrm>
    </dsp:sp>
    <dsp:sp modelId="{EBE46FA3-3C7E-487C-83A2-4E9AAB0E1522}">
      <dsp:nvSpPr>
        <dsp:cNvPr id="0" name=""/>
        <dsp:cNvSpPr/>
      </dsp:nvSpPr>
      <dsp:spPr>
        <a:xfrm>
          <a:off x="3050358" y="3279110"/>
          <a:ext cx="2716992" cy="184247"/>
        </a:xfrm>
        <a:prstGeom prst="rect">
          <a:avLst/>
        </a:prstGeom>
        <a:solidFill>
          <a:schemeClr val="accent5">
            <a:hueOff val="207116"/>
            <a:satOff val="9910"/>
            <a:lumOff val="-739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127FD1-CDDF-4E2E-B30A-93850B0A88D4}">
      <dsp:nvSpPr>
        <dsp:cNvPr id="0" name=""/>
        <dsp:cNvSpPr/>
      </dsp:nvSpPr>
      <dsp:spPr>
        <a:xfrm>
          <a:off x="2635145" y="307150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181227"/>
            <a:satOff val="8671"/>
            <a:lumOff val="-647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Negocio propio y comerciantes</a:t>
          </a:r>
        </a:p>
      </dsp:txBody>
      <dsp:txXfrm>
        <a:off x="2671121" y="3107480"/>
        <a:ext cx="1975240" cy="1156363"/>
      </dsp:txXfrm>
    </dsp:sp>
    <dsp:sp modelId="{FB2E2F7E-8147-4F69-B39D-86D2F85B6EA3}">
      <dsp:nvSpPr>
        <dsp:cNvPr id="0" name=""/>
        <dsp:cNvSpPr/>
      </dsp:nvSpPr>
      <dsp:spPr>
        <a:xfrm rot="16200000">
          <a:off x="5005427" y="2511413"/>
          <a:ext cx="1529620" cy="184247"/>
        </a:xfrm>
        <a:prstGeom prst="rect">
          <a:avLst/>
        </a:prstGeom>
        <a:solidFill>
          <a:schemeClr val="accent5">
            <a:hueOff val="310675"/>
            <a:satOff val="14865"/>
            <a:lumOff val="-1109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A074FD-35EE-4FAF-A3CB-4B531ADD6CA1}">
      <dsp:nvSpPr>
        <dsp:cNvPr id="0" name=""/>
        <dsp:cNvSpPr/>
      </dsp:nvSpPr>
      <dsp:spPr>
        <a:xfrm>
          <a:off x="5357912" y="307150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271840"/>
            <a:satOff val="13006"/>
            <a:lumOff val="-9706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Bachilleres</a:t>
          </a:r>
        </a:p>
      </dsp:txBody>
      <dsp:txXfrm>
        <a:off x="5393888" y="3107480"/>
        <a:ext cx="1975240" cy="1156363"/>
      </dsp:txXfrm>
    </dsp:sp>
    <dsp:sp modelId="{17583D0B-5ACC-40A3-9065-92F00E7FABF7}">
      <dsp:nvSpPr>
        <dsp:cNvPr id="0" name=""/>
        <dsp:cNvSpPr/>
      </dsp:nvSpPr>
      <dsp:spPr>
        <a:xfrm rot="16200000">
          <a:off x="5005427" y="976018"/>
          <a:ext cx="1529620" cy="184247"/>
        </a:xfrm>
        <a:prstGeom prst="rect">
          <a:avLst/>
        </a:prstGeom>
        <a:solidFill>
          <a:schemeClr val="accent5">
            <a:hueOff val="414233"/>
            <a:satOff val="19819"/>
            <a:lumOff val="-1479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260D3D-F859-4273-A9EB-C261AA065841}">
      <dsp:nvSpPr>
        <dsp:cNvPr id="0" name=""/>
        <dsp:cNvSpPr/>
      </dsp:nvSpPr>
      <dsp:spPr>
        <a:xfrm>
          <a:off x="5357912" y="1536109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362454"/>
            <a:satOff val="17342"/>
            <a:lumOff val="-12941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Si tiene potencial turístico</a:t>
          </a:r>
        </a:p>
      </dsp:txBody>
      <dsp:txXfrm>
        <a:off x="5393888" y="1572085"/>
        <a:ext cx="1975240" cy="1156363"/>
      </dsp:txXfrm>
    </dsp:sp>
    <dsp:sp modelId="{C0F2722F-C810-45C8-BF8B-1A95220FC98D}">
      <dsp:nvSpPr>
        <dsp:cNvPr id="0" name=""/>
        <dsp:cNvSpPr/>
      </dsp:nvSpPr>
      <dsp:spPr>
        <a:xfrm>
          <a:off x="5773125" y="208321"/>
          <a:ext cx="2716992" cy="184247"/>
        </a:xfrm>
        <a:prstGeom prst="rect">
          <a:avLst/>
        </a:prstGeom>
        <a:solidFill>
          <a:schemeClr val="accent5">
            <a:hueOff val="517791"/>
            <a:satOff val="24774"/>
            <a:lumOff val="-1848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9647C3-9CB2-4AA9-B6FD-F3EFB6CD5D55}">
      <dsp:nvSpPr>
        <dsp:cNvPr id="0" name=""/>
        <dsp:cNvSpPr/>
      </dsp:nvSpPr>
      <dsp:spPr>
        <a:xfrm>
          <a:off x="5357912" y="71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453067"/>
            <a:satOff val="21677"/>
            <a:lumOff val="-16176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Turismo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000" kern="1200" dirty="0"/>
            <a:t>Agroturismo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000" kern="1200" dirty="0"/>
            <a:t>Senderismo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000" kern="1200" dirty="0"/>
            <a:t>Visita fincas y atractivos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C" sz="1000" kern="1200" dirty="0"/>
            <a:t>Observación de Flora y Fauna</a:t>
          </a:r>
        </a:p>
      </dsp:txBody>
      <dsp:txXfrm>
        <a:off x="5393888" y="36690"/>
        <a:ext cx="1975240" cy="1156363"/>
      </dsp:txXfrm>
    </dsp:sp>
    <dsp:sp modelId="{E995C3E1-A347-41CC-AFDC-CC11A946D501}">
      <dsp:nvSpPr>
        <dsp:cNvPr id="0" name=""/>
        <dsp:cNvSpPr/>
      </dsp:nvSpPr>
      <dsp:spPr>
        <a:xfrm rot="5400000">
          <a:off x="7728194" y="976018"/>
          <a:ext cx="1529620" cy="184247"/>
        </a:xfrm>
        <a:prstGeom prst="rect">
          <a:avLst/>
        </a:prstGeom>
        <a:solidFill>
          <a:schemeClr val="accent5">
            <a:hueOff val="621349"/>
            <a:satOff val="29729"/>
            <a:lumOff val="-2218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D21F36-C101-4578-9E4A-91D7FEB6D073}">
      <dsp:nvSpPr>
        <dsp:cNvPr id="0" name=""/>
        <dsp:cNvSpPr/>
      </dsp:nvSpPr>
      <dsp:spPr>
        <a:xfrm>
          <a:off x="8080678" y="71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543680"/>
            <a:satOff val="26013"/>
            <a:lumOff val="-1941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Los turistas contribuyen al desarrollo local</a:t>
          </a:r>
        </a:p>
      </dsp:txBody>
      <dsp:txXfrm>
        <a:off x="8116654" y="36690"/>
        <a:ext cx="1975240" cy="1156363"/>
      </dsp:txXfrm>
    </dsp:sp>
    <dsp:sp modelId="{932B0E07-BDEC-46B5-A5D9-C4C81245FDC9}">
      <dsp:nvSpPr>
        <dsp:cNvPr id="0" name=""/>
        <dsp:cNvSpPr/>
      </dsp:nvSpPr>
      <dsp:spPr>
        <a:xfrm rot="5400000">
          <a:off x="7728194" y="2511413"/>
          <a:ext cx="1529620" cy="184247"/>
        </a:xfrm>
        <a:prstGeom prst="rect">
          <a:avLst/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6456CB-1C9A-4FD0-8A34-EF88198165EE}">
      <dsp:nvSpPr>
        <dsp:cNvPr id="0" name=""/>
        <dsp:cNvSpPr/>
      </dsp:nvSpPr>
      <dsp:spPr>
        <a:xfrm>
          <a:off x="8080678" y="1536109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634294"/>
            <a:satOff val="30348"/>
            <a:lumOff val="-22647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Impulsa la economía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Genera fuentes de empleo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Mejora la calidad de vida</a:t>
          </a:r>
        </a:p>
      </dsp:txBody>
      <dsp:txXfrm>
        <a:off x="8116654" y="1572085"/>
        <a:ext cx="1975240" cy="1156363"/>
      </dsp:txXfrm>
    </dsp:sp>
    <dsp:sp modelId="{98CD0EE2-13DD-4314-878D-D50CEB3FDAB3}">
      <dsp:nvSpPr>
        <dsp:cNvPr id="0" name=""/>
        <dsp:cNvSpPr/>
      </dsp:nvSpPr>
      <dsp:spPr>
        <a:xfrm>
          <a:off x="8080678" y="3071504"/>
          <a:ext cx="2047192" cy="1228315"/>
        </a:xfrm>
        <a:prstGeom prst="roundRect">
          <a:avLst>
            <a:gd name="adj" fmla="val 10000"/>
          </a:avLst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300" kern="1200" dirty="0"/>
            <a:t>Aumento de visitantes en la zona</a:t>
          </a:r>
        </a:p>
      </dsp:txBody>
      <dsp:txXfrm>
        <a:off x="8116654" y="3107480"/>
        <a:ext cx="1975240" cy="115636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28E21B-5463-4709-B04D-7DE8690CF911}">
      <dsp:nvSpPr>
        <dsp:cNvPr id="0" name=""/>
        <dsp:cNvSpPr/>
      </dsp:nvSpPr>
      <dsp:spPr>
        <a:xfrm>
          <a:off x="3005510" y="3199913"/>
          <a:ext cx="2199529" cy="2199529"/>
        </a:xfrm>
        <a:prstGeom prst="ellipse">
          <a:avLst/>
        </a:prstGeom>
        <a:noFill/>
        <a:ln w="952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EC" sz="2000" kern="1200" dirty="0">
            <a:solidFill>
              <a:schemeClr val="bg1"/>
            </a:solidFill>
          </a:endParaRPr>
        </a:p>
      </dsp:txBody>
      <dsp:txXfrm>
        <a:off x="3327624" y="3522027"/>
        <a:ext cx="1555301" cy="1555301"/>
      </dsp:txXfrm>
    </dsp:sp>
    <dsp:sp modelId="{A8F62945-A063-4510-82DA-F0B785401B38}">
      <dsp:nvSpPr>
        <dsp:cNvPr id="0" name=""/>
        <dsp:cNvSpPr/>
      </dsp:nvSpPr>
      <dsp:spPr>
        <a:xfrm rot="10800000">
          <a:off x="770664" y="3986245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B0D645-E26E-4831-BC4D-070DE4ABA095}">
      <dsp:nvSpPr>
        <dsp:cNvPr id="0" name=""/>
        <dsp:cNvSpPr/>
      </dsp:nvSpPr>
      <dsp:spPr>
        <a:xfrm>
          <a:off x="829" y="3683809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/>
            <a:t>HOMBRES Y MUJERES</a:t>
          </a:r>
          <a:endParaRPr lang="es-EC" sz="1500" kern="1200" dirty="0"/>
        </a:p>
      </dsp:txBody>
      <dsp:txXfrm>
        <a:off x="36905" y="3719885"/>
        <a:ext cx="1467518" cy="1159584"/>
      </dsp:txXfrm>
    </dsp:sp>
    <dsp:sp modelId="{A9DBE106-4860-4035-9F87-5122EFC1032B}">
      <dsp:nvSpPr>
        <dsp:cNvPr id="0" name=""/>
        <dsp:cNvSpPr/>
      </dsp:nvSpPr>
      <dsp:spPr>
        <a:xfrm rot="12960000">
          <a:off x="1205847" y="2646890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144981"/>
            <a:satOff val="6937"/>
            <a:lumOff val="-517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F3E18F-09C6-495D-A12A-3D29ABC577B5}">
      <dsp:nvSpPr>
        <dsp:cNvPr id="0" name=""/>
        <dsp:cNvSpPr/>
      </dsp:nvSpPr>
      <dsp:spPr>
        <a:xfrm>
          <a:off x="637683" y="1723775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144981"/>
            <a:satOff val="6937"/>
            <a:lumOff val="-5176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/>
            <a:t>Entre 18 y 41 años</a:t>
          </a:r>
          <a:endParaRPr lang="de-DE" altLang="de-DE" sz="1500" kern="1200" spc="300" dirty="0"/>
        </a:p>
      </dsp:txBody>
      <dsp:txXfrm>
        <a:off x="673759" y="1759851"/>
        <a:ext cx="1467518" cy="1159584"/>
      </dsp:txXfrm>
    </dsp:sp>
    <dsp:sp modelId="{13606287-FF26-4174-B78F-D903D4D7DA0A}">
      <dsp:nvSpPr>
        <dsp:cNvPr id="0" name=""/>
        <dsp:cNvSpPr/>
      </dsp:nvSpPr>
      <dsp:spPr>
        <a:xfrm rot="15120000">
          <a:off x="2345170" y="1819124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289963"/>
            <a:satOff val="13874"/>
            <a:lumOff val="-1035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062CA2-7414-414F-B99F-3A56F7A601E4}">
      <dsp:nvSpPr>
        <dsp:cNvPr id="0" name=""/>
        <dsp:cNvSpPr/>
      </dsp:nvSpPr>
      <dsp:spPr>
        <a:xfrm>
          <a:off x="2304988" y="512407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289963"/>
            <a:satOff val="13874"/>
            <a:lumOff val="-10353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/>
            <a:t>Nacionales</a:t>
          </a:r>
          <a:endParaRPr lang="de-DE" altLang="de-DE" sz="1500" kern="1200" spc="300" dirty="0"/>
        </a:p>
      </dsp:txBody>
      <dsp:txXfrm>
        <a:off x="2341064" y="548483"/>
        <a:ext cx="1467518" cy="1159584"/>
      </dsp:txXfrm>
    </dsp:sp>
    <dsp:sp modelId="{F627E7F8-A1BD-424D-99A6-96719FC9D800}">
      <dsp:nvSpPr>
        <dsp:cNvPr id="0" name=""/>
        <dsp:cNvSpPr/>
      </dsp:nvSpPr>
      <dsp:spPr>
        <a:xfrm rot="17280000">
          <a:off x="3753450" y="1819124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434944"/>
            <a:satOff val="20810"/>
            <a:lumOff val="-155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B3F303-F6F1-445D-B5C4-6CC537A1171E}">
      <dsp:nvSpPr>
        <dsp:cNvPr id="0" name=""/>
        <dsp:cNvSpPr/>
      </dsp:nvSpPr>
      <dsp:spPr>
        <a:xfrm>
          <a:off x="4365890" y="512407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434944"/>
            <a:satOff val="20810"/>
            <a:lumOff val="-15529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 dirty="0"/>
            <a:t>Estudiantes de Pregrado</a:t>
          </a:r>
        </a:p>
      </dsp:txBody>
      <dsp:txXfrm>
        <a:off x="4401966" y="548483"/>
        <a:ext cx="1467518" cy="1159584"/>
      </dsp:txXfrm>
    </dsp:sp>
    <dsp:sp modelId="{8FD61029-6EDD-4637-9D97-1D3CE013EB5F}">
      <dsp:nvSpPr>
        <dsp:cNvPr id="0" name=""/>
        <dsp:cNvSpPr/>
      </dsp:nvSpPr>
      <dsp:spPr>
        <a:xfrm rot="19440000">
          <a:off x="4892773" y="2646890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579926"/>
            <a:satOff val="27747"/>
            <a:lumOff val="-207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3F1B7F-F69E-4FCB-A7C6-13E52055E8A1}">
      <dsp:nvSpPr>
        <dsp:cNvPr id="0" name=""/>
        <dsp:cNvSpPr/>
      </dsp:nvSpPr>
      <dsp:spPr>
        <a:xfrm>
          <a:off x="6033196" y="1723775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579926"/>
            <a:satOff val="27747"/>
            <a:lumOff val="-20706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 dirty="0"/>
            <a:t>Turismo</a:t>
          </a:r>
          <a:endParaRPr lang="es-EC" sz="1500" kern="1200" dirty="0"/>
        </a:p>
      </dsp:txBody>
      <dsp:txXfrm>
        <a:off x="6069272" y="1759851"/>
        <a:ext cx="1467518" cy="1159584"/>
      </dsp:txXfrm>
    </dsp:sp>
    <dsp:sp modelId="{560AD671-2C5B-4AAA-8714-ECF1CD9FA125}">
      <dsp:nvSpPr>
        <dsp:cNvPr id="0" name=""/>
        <dsp:cNvSpPr/>
      </dsp:nvSpPr>
      <dsp:spPr>
        <a:xfrm>
          <a:off x="5327956" y="3986245"/>
          <a:ext cx="2111929" cy="626865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B2CD7D-62FC-456D-B116-68F4DF53A806}">
      <dsp:nvSpPr>
        <dsp:cNvPr id="0" name=""/>
        <dsp:cNvSpPr/>
      </dsp:nvSpPr>
      <dsp:spPr>
        <a:xfrm>
          <a:off x="6670049" y="3683809"/>
          <a:ext cx="1539670" cy="1231736"/>
        </a:xfrm>
        <a:prstGeom prst="roundRect">
          <a:avLst>
            <a:gd name="adj" fmla="val 10000"/>
          </a:avLst>
        </a:prstGeom>
        <a:solidFill>
          <a:schemeClr val="accent5">
            <a:hueOff val="724907"/>
            <a:satOff val="34684"/>
            <a:lumOff val="-25882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575" tIns="28575" rIns="28575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altLang="de-DE" sz="1500" kern="1200" spc="300"/>
            <a:t>Amigos y Familia</a:t>
          </a:r>
          <a:endParaRPr lang="de-DE" altLang="de-DE" sz="1500" kern="1200" spc="300" dirty="0"/>
        </a:p>
      </dsp:txBody>
      <dsp:txXfrm>
        <a:off x="6706125" y="3719885"/>
        <a:ext cx="1467518" cy="11595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 smtClean="0"/>
              <a:t>8/23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numCol="1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 smtClean="0"/>
              <a:t>8/2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numCol="1" rtlCol="0" anchor="ctr"/>
          <a:lstStyle/>
          <a:p>
            <a:endParaRPr lang="en-GB" alt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numCol="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numCol="1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7324DA73-AE27-4433-BD53-3E1DB61918F0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048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4045307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6210942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numCol="1"/>
          <a:lstStyle/>
          <a:p>
            <a:r>
              <a:rPr lang="en-US" dirty="0"/>
              <a:t>Click to edit Master title style</a:t>
            </a:r>
            <a:endParaRPr lang="en-GB" alt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numCol="1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alt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31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3F2DB90-3CBB-4414-8871-BD2DC6595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C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C80865E-40B3-4243-A0A3-CCF3140EA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45A5F-553E-4F44-94B4-B43B61C17336}" type="datetimeFigureOut">
              <a:rPr lang="es-EC" smtClean="0"/>
              <a:t>23/8/2021</a:t>
            </a:fld>
            <a:endParaRPr lang="es-EC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CBC556A4-62FA-44E6-B44F-A8DA09C6A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799C72E-4172-40F9-A3DB-F5A545C60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4AED9B-3438-442A-9E5B-B254BB2BE6B7}" type="slidenum">
              <a:rPr lang="es-EC" smtClean="0"/>
              <a:t>‹Nº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069244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2037D5-9F9A-4CC9-98B0-68BDD36B0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5055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51" imgH="450" progId="TCLayout.ActiveDocument.1">
                  <p:embed/>
                </p:oleObj>
              </mc:Choice>
              <mc:Fallback>
                <p:oleObj name="think-cell Slide" r:id="rId8" imgW="451" imgH="45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2037D5-9F9A-4CC9-98B0-68BDD36B0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E612F5A-FB47-481F-9DE2-4A75D564380A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kern="0" baseline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868680" y="38404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868680" y="1399032"/>
            <a:ext cx="10744200" cy="492861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8/23/2021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numCol="1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BCDC7-33E6-4E0D-8470-BD0036821924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009789" y="384048"/>
            <a:ext cx="711200" cy="616373"/>
          </a:xfrm>
          <a:prstGeom prst="rect">
            <a:avLst/>
          </a:prstGeom>
        </p:spPr>
      </p:pic>
    </p:spTree>
    <p:custDataLst>
      <p:tags r:id="rId5"/>
    </p:custDataLst>
    <p:extLst>
      <p:ext uri="{BB962C8B-B14F-4D97-AF65-F5344CB8AC3E}">
        <p14:creationId xmlns:p14="http://schemas.microsoft.com/office/powerpoint/2010/main" val="27646577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4" r:id="rId1"/>
    <p:sldLayoutId id="2147483656" r:id="rId2"/>
    <p:sldLayoutId id="2147483657" r:id="rId3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320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spcBef>
          <a:spcPts val="700"/>
        </a:spcBef>
        <a:buFont typeface="Arial" panose="020B0604020202020204" pitchFamily="34" charset="0"/>
        <a:buChar char="​"/>
        <a:defRPr sz="2400" kern="0">
          <a:solidFill>
            <a:schemeClr val="tx1"/>
          </a:solidFill>
          <a:latin typeface="+mn-lt"/>
          <a:ea typeface="+mn-ea"/>
          <a:cs typeface="+mn-cs"/>
        </a:defRPr>
      </a:lvl2pPr>
      <a:lvl3pPr marL="252000" indent="-252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2400" kern="0">
          <a:solidFill>
            <a:schemeClr val="tx1"/>
          </a:solidFill>
          <a:latin typeface="+mn-lt"/>
          <a:ea typeface="+mn-ea"/>
          <a:cs typeface="+mn-cs"/>
        </a:defRPr>
      </a:lvl3pPr>
      <a:lvl4pPr marL="50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2400" kern="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5pPr>
      <a:lvl6pPr marL="1008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7pPr>
      <a:lvl8pPr marL="1512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8pPr>
      <a:lvl9pPr marL="1764000" indent="-252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2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1pPr>
      <a:lvl2pPr marL="25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2pPr>
      <a:lvl3pPr marL="50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3pPr>
      <a:lvl4pPr marL="756000" algn="l" defTabSz="914400" rtl="0" eaLnBrk="1" latinLnBrk="0" hangingPunct="1">
        <a:defRPr sz="200" kern="0">
          <a:solidFill>
            <a:schemeClr val="tx1"/>
          </a:solidFill>
          <a:latin typeface="+mn-lt"/>
          <a:ea typeface="+mn-ea"/>
          <a:cs typeface="+mn-cs"/>
        </a:defRPr>
      </a:lvl4pPr>
      <a:lvl5pPr marL="1008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5pPr>
      <a:lvl6pPr marL="1260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6pPr>
      <a:lvl7pPr marL="1512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7pPr>
      <a:lvl8pPr marL="1764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8pPr>
      <a:lvl9pPr marL="2016000" algn="l" defTabSz="914400" rtl="0" eaLnBrk="1" latinLnBrk="0" hangingPunct="1">
        <a:defRPr sz="20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4" userDrawn="1">
          <p15:clr>
            <a:srgbClr val="C35EA4"/>
          </p15:clr>
        </p15:guide>
        <p15:guide id="2" pos="7328" userDrawn="1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3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3.emf"/><Relationship Id="rId11" Type="http://schemas.openxmlformats.org/officeDocument/2006/relationships/image" Target="../media/image36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5.png"/><Relationship Id="rId4" Type="http://schemas.openxmlformats.org/officeDocument/2006/relationships/notesSlide" Target="../notesSlides/notesSlide2.xml"/><Relationship Id="rId9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4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8.xml"/><Relationship Id="rId12" Type="http://schemas.openxmlformats.org/officeDocument/2006/relationships/image" Target="../media/image42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diagramData" Target="../diagrams/data8.xml"/><Relationship Id="rId11" Type="http://schemas.openxmlformats.org/officeDocument/2006/relationships/image" Target="../media/image41.png"/><Relationship Id="rId5" Type="http://schemas.openxmlformats.org/officeDocument/2006/relationships/image" Target="../media/image3.emf"/><Relationship Id="rId10" Type="http://schemas.microsoft.com/office/2007/relationships/diagramDrawing" Target="../diagrams/drawing8.xml"/><Relationship Id="rId4" Type="http://schemas.openxmlformats.org/officeDocument/2006/relationships/oleObject" Target="../embeddings/oleObject7.bin"/><Relationship Id="rId9" Type="http://schemas.openxmlformats.org/officeDocument/2006/relationships/diagramColors" Target="../diagrams/colors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diagramQuickStyle" Target="../diagrams/quickStyle9.xml"/><Relationship Id="rId3" Type="http://schemas.openxmlformats.org/officeDocument/2006/relationships/tags" Target="../tags/tag22.xml"/><Relationship Id="rId7" Type="http://schemas.openxmlformats.org/officeDocument/2006/relationships/chart" Target="../charts/chart1.xml"/><Relationship Id="rId12" Type="http://schemas.openxmlformats.org/officeDocument/2006/relationships/diagramLayout" Target="../diagrams/layout9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11" Type="http://schemas.openxmlformats.org/officeDocument/2006/relationships/diagramData" Target="../diagrams/data9.xml"/><Relationship Id="rId5" Type="http://schemas.openxmlformats.org/officeDocument/2006/relationships/oleObject" Target="../embeddings/oleObject8.bin"/><Relationship Id="rId15" Type="http://schemas.microsoft.com/office/2007/relationships/diagramDrawing" Target="../diagrams/drawing9.xml"/><Relationship Id="rId10" Type="http://schemas.openxmlformats.org/officeDocument/2006/relationships/image" Target="../media/image4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4.png"/><Relationship Id="rId14" Type="http://schemas.openxmlformats.org/officeDocument/2006/relationships/diagramColors" Target="../diagrams/colors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13" Type="http://schemas.openxmlformats.org/officeDocument/2006/relationships/image" Target="../media/image44.png"/><Relationship Id="rId3" Type="http://schemas.openxmlformats.org/officeDocument/2006/relationships/tags" Target="../tags/tag25.xml"/><Relationship Id="rId7" Type="http://schemas.openxmlformats.org/officeDocument/2006/relationships/chart" Target="../charts/chart2.xml"/><Relationship Id="rId12" Type="http://schemas.microsoft.com/office/2007/relationships/diagramDrawing" Target="../diagrams/drawing10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11" Type="http://schemas.openxmlformats.org/officeDocument/2006/relationships/diagramColors" Target="../diagrams/colors10.xml"/><Relationship Id="rId5" Type="http://schemas.openxmlformats.org/officeDocument/2006/relationships/oleObject" Target="../embeddings/oleObject9.bin"/><Relationship Id="rId10" Type="http://schemas.openxmlformats.org/officeDocument/2006/relationships/diagramQuickStyle" Target="../diagrams/quickStyle10.xml"/><Relationship Id="rId4" Type="http://schemas.openxmlformats.org/officeDocument/2006/relationships/slideLayout" Target="../slideLayouts/slideLayout1.xml"/><Relationship Id="rId9" Type="http://schemas.openxmlformats.org/officeDocument/2006/relationships/diagramLayout" Target="../diagrams/layout10.xml"/><Relationship Id="rId14" Type="http://schemas.openxmlformats.org/officeDocument/2006/relationships/image" Target="../media/image4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10" Type="http://schemas.openxmlformats.org/officeDocument/2006/relationships/image" Target="../media/image54.jpe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jpe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diagramLayout" Target="../diagrams/layout11.xml"/><Relationship Id="rId7" Type="http://schemas.openxmlformats.org/officeDocument/2006/relationships/image" Target="../media/image69.pn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8.png"/><Relationship Id="rId7" Type="http://schemas.openxmlformats.org/officeDocument/2006/relationships/image" Target="../media/image1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microsoft.com/office/2007/relationships/hdphoto" Target="../media/hdphoto1.wdp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7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image" Target="../media/image22.jpeg"/><Relationship Id="rId7" Type="http://schemas.openxmlformats.org/officeDocument/2006/relationships/diagramData" Target="../diagrams/data6.xm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jpeg"/><Relationship Id="rId11" Type="http://schemas.microsoft.com/office/2007/relationships/diagramDrawing" Target="../diagrams/drawing6.xml"/><Relationship Id="rId5" Type="http://schemas.openxmlformats.org/officeDocument/2006/relationships/image" Target="../media/image24.jpeg"/><Relationship Id="rId10" Type="http://schemas.openxmlformats.org/officeDocument/2006/relationships/diagramColors" Target="../diagrams/colors6.xml"/><Relationship Id="rId4" Type="http://schemas.openxmlformats.org/officeDocument/2006/relationships/image" Target="../media/image23.jpeg"/><Relationship Id="rId9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733E1C-109C-49C0-87D5-2F21369602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733E1C-109C-49C0-87D5-2F21369602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A4ACE5-10D3-415B-9571-45426C854F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3200" kern="0" dirty="0" err="1">
              <a:solidFill>
                <a:schemeClr val="tx1"/>
              </a:solidFill>
              <a:latin typeface="Segoe UI Black" panose="020B0A02040204020203" pitchFamily="34" charset="0"/>
              <a:ea typeface="+mj-ea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6C75056-6086-4A85-BB1D-7757954AFB36}"/>
              </a:ext>
            </a:extLst>
          </p:cNvPr>
          <p:cNvSpPr/>
          <p:nvPr/>
        </p:nvSpPr>
        <p:spPr>
          <a:xfrm>
            <a:off x="9671515" y="116572"/>
            <a:ext cx="131078" cy="131078"/>
          </a:xfrm>
          <a:prstGeom prst="rect">
            <a:avLst/>
          </a:prstGeom>
          <a:solidFill>
            <a:srgbClr val="DD71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23DFFA-1938-4738-B2F9-89F78B813D82}"/>
              </a:ext>
            </a:extLst>
          </p:cNvPr>
          <p:cNvSpPr/>
          <p:nvPr/>
        </p:nvSpPr>
        <p:spPr>
          <a:xfrm>
            <a:off x="10082132" y="116572"/>
            <a:ext cx="131078" cy="131078"/>
          </a:xfrm>
          <a:prstGeom prst="rect">
            <a:avLst/>
          </a:prstGeom>
          <a:solidFill>
            <a:srgbClr val="016D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73D9B9F-C669-40DE-854B-29A01F5F62B3}"/>
              </a:ext>
            </a:extLst>
          </p:cNvPr>
          <p:cNvSpPr/>
          <p:nvPr/>
        </p:nvSpPr>
        <p:spPr>
          <a:xfrm>
            <a:off x="10903366" y="116572"/>
            <a:ext cx="131078" cy="131078"/>
          </a:xfrm>
          <a:prstGeom prst="rect">
            <a:avLst/>
          </a:prstGeom>
          <a:solidFill>
            <a:srgbClr val="646E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D995EA-F028-446E-9DCB-E00BF6EDA545}"/>
              </a:ext>
            </a:extLst>
          </p:cNvPr>
          <p:cNvSpPr/>
          <p:nvPr/>
        </p:nvSpPr>
        <p:spPr>
          <a:xfrm>
            <a:off x="11313983" y="116572"/>
            <a:ext cx="131078" cy="131078"/>
          </a:xfrm>
          <a:prstGeom prst="rect">
            <a:avLst/>
          </a:prstGeom>
          <a:solidFill>
            <a:srgbClr val="CB22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6F9ACA-9E4F-43DA-83B4-8BEE7B6EA12D}"/>
              </a:ext>
            </a:extLst>
          </p:cNvPr>
          <p:cNvSpPr/>
          <p:nvPr/>
        </p:nvSpPr>
        <p:spPr>
          <a:xfrm>
            <a:off x="11724598" y="116572"/>
            <a:ext cx="131078" cy="131078"/>
          </a:xfrm>
          <a:prstGeom prst="rect">
            <a:avLst/>
          </a:prstGeom>
          <a:solidFill>
            <a:srgbClr val="079B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DD8646-D1B7-4D63-8E50-A6E449D95046}"/>
              </a:ext>
            </a:extLst>
          </p:cNvPr>
          <p:cNvSpPr/>
          <p:nvPr/>
        </p:nvSpPr>
        <p:spPr>
          <a:xfrm>
            <a:off x="10492749" y="116572"/>
            <a:ext cx="131078" cy="13107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3" name="Paralelogramo 2">
            <a:extLst>
              <a:ext uri="{FF2B5EF4-FFF2-40B4-BE49-F238E27FC236}">
                <a16:creationId xmlns:a16="http://schemas.microsoft.com/office/drawing/2014/main" id="{81AFF04A-BA5C-4477-8AB0-F16AF944AD96}"/>
              </a:ext>
            </a:extLst>
          </p:cNvPr>
          <p:cNvSpPr/>
          <p:nvPr/>
        </p:nvSpPr>
        <p:spPr>
          <a:xfrm flipH="1">
            <a:off x="-119126" y="-93838"/>
            <a:ext cx="13301726" cy="8587442"/>
          </a:xfrm>
          <a:prstGeom prst="parallelogram">
            <a:avLst>
              <a:gd name="adj" fmla="val 46518"/>
            </a:avLst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s-EC" sz="1000" kern="0" dirty="0" err="1">
              <a:solidFill>
                <a:schemeClr val="tx1"/>
              </a:solidFill>
            </a:endParaRPr>
          </a:p>
        </p:txBody>
      </p:sp>
      <p:sp>
        <p:nvSpPr>
          <p:cNvPr id="26" name="TextBox 23">
            <a:extLst>
              <a:ext uri="{FF2B5EF4-FFF2-40B4-BE49-F238E27FC236}">
                <a16:creationId xmlns:a16="http://schemas.microsoft.com/office/drawing/2014/main" id="{022679B8-70E8-4F1C-AB9B-6F50CF371429}"/>
              </a:ext>
            </a:extLst>
          </p:cNvPr>
          <p:cNvSpPr txBox="1"/>
          <p:nvPr/>
        </p:nvSpPr>
        <p:spPr>
          <a:xfrm>
            <a:off x="3602246" y="3081946"/>
            <a:ext cx="5943935" cy="276999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kern="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CARRERA DE ADMINISTRACIÓN TURÍSTICA Y HOTELERA</a:t>
            </a: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511C9817-2171-4D7F-928B-B1108F7FBE96}"/>
              </a:ext>
            </a:extLst>
          </p:cNvPr>
          <p:cNvSpPr txBox="1"/>
          <p:nvPr/>
        </p:nvSpPr>
        <p:spPr>
          <a:xfrm>
            <a:off x="3518891" y="2426451"/>
            <a:ext cx="6110647" cy="49244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de-DE" altLang="de-DE" sz="16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TRABAJO DE TITULACIÓN PREVIO A LA OBTENCIÓN DEL TITULO</a:t>
            </a:r>
          </a:p>
          <a:p>
            <a:pPr algn="ctr"/>
            <a:r>
              <a:rPr lang="de-DE" altLang="de-DE" sz="16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DE LICENCIADO EN ADMINISTRACIÓN TURÍSTICA Y HOTELERA</a:t>
            </a:r>
          </a:p>
        </p:txBody>
      </p:sp>
      <p:sp>
        <p:nvSpPr>
          <p:cNvPr id="30" name="TextBox 26">
            <a:extLst>
              <a:ext uri="{FF2B5EF4-FFF2-40B4-BE49-F238E27FC236}">
                <a16:creationId xmlns:a16="http://schemas.microsoft.com/office/drawing/2014/main" id="{B9A92AF2-B679-4AD2-8C9C-C765B14820E6}"/>
              </a:ext>
            </a:extLst>
          </p:cNvPr>
          <p:cNvSpPr txBox="1"/>
          <p:nvPr/>
        </p:nvSpPr>
        <p:spPr>
          <a:xfrm>
            <a:off x="2865381" y="3574947"/>
            <a:ext cx="7332707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pPr algn="just"/>
            <a:r>
              <a:rPr lang="de-DE" altLang="de-DE" sz="20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MA: TURISMO RURAL: UN ELEMENTO PARA EL DESARROLLO LOCAL DE LA PARROQUIA DE PACTO-PICHINCHA</a:t>
            </a:r>
          </a:p>
        </p:txBody>
      </p:sp>
      <p:sp>
        <p:nvSpPr>
          <p:cNvPr id="32" name="TextBox 24">
            <a:extLst>
              <a:ext uri="{FF2B5EF4-FFF2-40B4-BE49-F238E27FC236}">
                <a16:creationId xmlns:a16="http://schemas.microsoft.com/office/drawing/2014/main" id="{EC663F02-52DB-4F39-8B8C-85A70D225E0D}"/>
              </a:ext>
            </a:extLst>
          </p:cNvPr>
          <p:cNvSpPr txBox="1"/>
          <p:nvPr/>
        </p:nvSpPr>
        <p:spPr>
          <a:xfrm>
            <a:off x="3376214" y="4666307"/>
            <a:ext cx="5729132" cy="138499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>
            <a:defPPr>
              <a:defRPr lang="en-US"/>
            </a:defPPr>
            <a:lvl1pPr>
              <a:defRPr sz="1000" kern="0">
                <a:solidFill>
                  <a:schemeClr val="accent1"/>
                </a:solidFill>
              </a:defRPr>
            </a:lvl1pPr>
          </a:lstStyle>
          <a:p>
            <a:r>
              <a:rPr lang="de-DE" altLang="de-DE" sz="18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ESTUDIANTES: 	REYES BENAVIDES, MARIEL EUGENIA</a:t>
            </a:r>
          </a:p>
          <a:p>
            <a:r>
              <a:rPr lang="de-DE" altLang="de-DE" sz="18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		CASA CENTENO, ANTHONY DARIO</a:t>
            </a:r>
          </a:p>
          <a:p>
            <a:endParaRPr lang="de-DE" altLang="de-DE" sz="18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endParaRPr lang="de-DE" altLang="de-DE" sz="18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r>
              <a:rPr lang="de-DE" altLang="de-DE" sz="18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DIRECTOR: 	HUARACA VERA, LUIS ERNESTO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9BB0B6B-6DE3-41BB-BD61-EB6F7DF0388D}"/>
              </a:ext>
            </a:extLst>
          </p:cNvPr>
          <p:cNvSpPr txBox="1">
            <a:spLocks/>
          </p:cNvSpPr>
          <p:nvPr/>
        </p:nvSpPr>
        <p:spPr>
          <a:xfrm>
            <a:off x="980398" y="563978"/>
            <a:ext cx="10744200" cy="866648"/>
          </a:xfrm>
          <a:prstGeom prst="rect">
            <a:avLst/>
          </a:prstGeom>
        </p:spPr>
        <p:txBody>
          <a:bodyPr vert="horz" lIns="0" tIns="0" rIns="0" bIns="0" numCol="1" rtlCol="0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3200" ker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UNIVERSIDAD DE LAS FUERZAS ARMADAS</a:t>
            </a:r>
          </a:p>
        </p:txBody>
      </p:sp>
      <p:pic>
        <p:nvPicPr>
          <p:cNvPr id="36" name="Picture 2" descr="Resultado de imagen para logo universidad de las fuerzas armadas espe">
            <a:extLst>
              <a:ext uri="{FF2B5EF4-FFF2-40B4-BE49-F238E27FC236}">
                <a16:creationId xmlns:a16="http://schemas.microsoft.com/office/drawing/2014/main" id="{136D4AF0-C9C9-4A03-9F4E-84B0D7EA8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290" y="1144233"/>
            <a:ext cx="4479419" cy="1017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Resultado de imagen para turismo espe">
            <a:extLst>
              <a:ext uri="{FF2B5EF4-FFF2-40B4-BE49-F238E27FC236}">
                <a16:creationId xmlns:a16="http://schemas.microsoft.com/office/drawing/2014/main" id="{14901AE6-6F1D-41FE-8962-E0CD13EA3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55736" y="4450519"/>
            <a:ext cx="1857485" cy="1816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8790664"/>
      </p:ext>
    </p:extLst>
  </p:cSld>
  <p:clrMapOvr>
    <a:masterClrMapping/>
  </p:clrMapOvr>
  <p:transition spd="med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209723" y="295090"/>
            <a:ext cx="5498107" cy="47410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306723" y="849088"/>
            <a:ext cx="5304106" cy="3725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637808" y="2003320"/>
            <a:ext cx="3764620" cy="2215991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400" dirty="0">
                <a:solidFill>
                  <a:srgbClr val="00B0F0"/>
                </a:solidFill>
              </a:rPr>
              <a:t>Mixta =  	Cuantitativos </a:t>
            </a:r>
          </a:p>
          <a:p>
            <a:r>
              <a:rPr lang="de-DE" altLang="de-DE" sz="2400" dirty="0">
                <a:solidFill>
                  <a:srgbClr val="00B0F0"/>
                </a:solidFill>
              </a:rPr>
              <a:t>		Cualitativos</a:t>
            </a:r>
          </a:p>
          <a:p>
            <a:endParaRPr lang="de-DE" altLang="de-DE" sz="2400" dirty="0">
              <a:solidFill>
                <a:srgbClr val="00B0F0"/>
              </a:solidFill>
            </a:endParaRPr>
          </a:p>
          <a:p>
            <a:endParaRPr lang="de-DE" altLang="de-DE" sz="2400" dirty="0">
              <a:solidFill>
                <a:srgbClr val="00B0F0"/>
              </a:solidFill>
            </a:endParaRPr>
          </a:p>
          <a:p>
            <a:endParaRPr lang="de-DE" altLang="de-DE" sz="2400" dirty="0">
              <a:solidFill>
                <a:srgbClr val="00B0F0"/>
              </a:solidFill>
            </a:endParaRPr>
          </a:p>
          <a:p>
            <a:r>
              <a:rPr lang="de-DE" altLang="de-DE" sz="2400" dirty="0">
                <a:solidFill>
                  <a:srgbClr val="00B0F0"/>
                </a:solidFill>
              </a:rPr>
              <a:t>No probabilistico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D45C0B94-0BE1-4834-8723-974774FED359}"/>
              </a:ext>
            </a:extLst>
          </p:cNvPr>
          <p:cNvSpPr/>
          <p:nvPr/>
        </p:nvSpPr>
        <p:spPr>
          <a:xfrm>
            <a:off x="6484172" y="259437"/>
            <a:ext cx="5096073" cy="19384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33552091-1B39-4E53-953D-E19264E66886}"/>
              </a:ext>
            </a:extLst>
          </p:cNvPr>
          <p:cNvSpPr/>
          <p:nvPr/>
        </p:nvSpPr>
        <p:spPr>
          <a:xfrm>
            <a:off x="6605724" y="365177"/>
            <a:ext cx="4877521" cy="17320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 dirty="0"/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F5EA1674-8F0C-4C0C-867F-1AFF4521C564}"/>
              </a:ext>
            </a:extLst>
          </p:cNvPr>
          <p:cNvSpPr txBox="1"/>
          <p:nvPr/>
        </p:nvSpPr>
        <p:spPr>
          <a:xfrm>
            <a:off x="594399" y="258923"/>
            <a:ext cx="3220433" cy="33239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Capitulo ll</a:t>
            </a:r>
          </a:p>
          <a:p>
            <a:r>
              <a:rPr lang="de-DE" altLang="de-DE" sz="3600" dirty="0">
                <a:latin typeface="+mj-lt"/>
              </a:rPr>
              <a:t>Enfoque de la </a:t>
            </a:r>
          </a:p>
          <a:p>
            <a:r>
              <a:rPr lang="de-DE" altLang="de-DE" sz="3600" dirty="0">
                <a:latin typeface="+mj-lt"/>
              </a:rPr>
              <a:t>Investigación</a:t>
            </a:r>
          </a:p>
          <a:p>
            <a:endParaRPr lang="de-DE" altLang="de-DE" sz="3600" dirty="0">
              <a:latin typeface="+mj-lt"/>
            </a:endParaRPr>
          </a:p>
          <a:p>
            <a:endParaRPr lang="de-DE" altLang="de-DE" sz="3600" dirty="0">
              <a:latin typeface="+mj-lt"/>
            </a:endParaRPr>
          </a:p>
          <a:p>
            <a:r>
              <a:rPr lang="de-DE" altLang="de-DE" sz="3600" dirty="0">
                <a:latin typeface="+mj-lt"/>
              </a:rPr>
              <a:t>Muestreo</a:t>
            </a:r>
          </a:p>
        </p:txBody>
      </p:sp>
      <p:sp>
        <p:nvSpPr>
          <p:cNvPr id="16" name="TextBox 7">
            <a:extLst>
              <a:ext uri="{FF2B5EF4-FFF2-40B4-BE49-F238E27FC236}">
                <a16:creationId xmlns:a16="http://schemas.microsoft.com/office/drawing/2014/main" id="{9A83F6B3-C98E-4741-BAC1-10E8B2370BA9}"/>
              </a:ext>
            </a:extLst>
          </p:cNvPr>
          <p:cNvSpPr txBox="1"/>
          <p:nvPr/>
        </p:nvSpPr>
        <p:spPr>
          <a:xfrm>
            <a:off x="6761479" y="398933"/>
            <a:ext cx="4539132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600" dirty="0">
                <a:latin typeface="+mj-lt"/>
              </a:rPr>
              <a:t>Tipologia</a:t>
            </a:r>
          </a:p>
          <a:p>
            <a:endParaRPr lang="de-DE" altLang="de-DE" sz="3600" dirty="0">
              <a:latin typeface="+mj-lt"/>
            </a:endParaRPr>
          </a:p>
          <a:p>
            <a:endParaRPr lang="de-DE" altLang="de-DE" sz="3600" dirty="0">
              <a:latin typeface="+mj-lt"/>
            </a:endParaRPr>
          </a:p>
          <a:p>
            <a:endParaRPr lang="de-DE" altLang="de-DE" sz="3600" dirty="0">
              <a:latin typeface="+mj-lt"/>
            </a:endParaRPr>
          </a:p>
        </p:txBody>
      </p:sp>
      <p:sp>
        <p:nvSpPr>
          <p:cNvPr id="17" name="TextBox 8">
            <a:extLst>
              <a:ext uri="{FF2B5EF4-FFF2-40B4-BE49-F238E27FC236}">
                <a16:creationId xmlns:a16="http://schemas.microsoft.com/office/drawing/2014/main" id="{0BF0C3DB-16B2-4325-B882-CB36682A3733}"/>
              </a:ext>
            </a:extLst>
          </p:cNvPr>
          <p:cNvSpPr txBox="1"/>
          <p:nvPr/>
        </p:nvSpPr>
        <p:spPr>
          <a:xfrm>
            <a:off x="7256429" y="994381"/>
            <a:ext cx="3488647" cy="166199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>
                <a:solidFill>
                  <a:srgbClr val="00B0F0"/>
                </a:solidFill>
              </a:rPr>
              <a:t>Finalidad: Aplic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>
                <a:solidFill>
                  <a:srgbClr val="00B0F0"/>
                </a:solidFill>
              </a:rPr>
              <a:t>Fuentes de información: Mix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>
                <a:solidFill>
                  <a:srgbClr val="00B0F0"/>
                </a:solidFill>
              </a:rPr>
              <a:t>Unidades de análisis: Mix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>
                <a:solidFill>
                  <a:srgbClr val="00B0F0"/>
                </a:solidFill>
              </a:rPr>
              <a:t>Variables: No experimental</a:t>
            </a:r>
          </a:p>
          <a:p>
            <a:endParaRPr lang="de-DE" altLang="de-DE" dirty="0">
              <a:solidFill>
                <a:srgbClr val="00B0F0"/>
              </a:solidFill>
            </a:endParaRPr>
          </a:p>
          <a:p>
            <a:endParaRPr lang="de-DE" altLang="de-DE" dirty="0">
              <a:solidFill>
                <a:srgbClr val="00B0F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48FDF370-FE10-4A12-A8E7-FE205F92E438}"/>
                  </a:ext>
                </a:extLst>
              </p:cNvPr>
              <p:cNvSpPr txBox="1"/>
              <p:nvPr/>
            </p:nvSpPr>
            <p:spPr>
              <a:xfrm>
                <a:off x="4676281" y="3679830"/>
                <a:ext cx="6094602" cy="81374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C" sz="200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EC" sz="2000" i="0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EC" sz="20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s-EC" sz="20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EC" sz="2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p>
                              <m:r>
                                <a:rPr lang="es-EC" sz="20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EC" sz="2000" i="1"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EC" sz="2000" i="1">
                              <a:latin typeface="Cambria Math" panose="02040503050406030204" pitchFamily="18" charset="0"/>
                            </a:rPr>
                            <m:t>𝑞</m:t>
                          </m:r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EC" sz="2000" i="1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d>
                            <m:dPr>
                              <m:ctrlPr>
                                <a:rPr lang="es-EC" sz="20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s-EC" sz="20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s-EC" sz="2000" i="1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es-EC" sz="2000" i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r>
                                <a:rPr lang="es-EC" sz="2000" i="0">
                                  <a:latin typeface="Cambria Math" panose="02040503050406030204" pitchFamily="18" charset="0"/>
                                </a:rPr>
                                <m:t>∗</m:t>
                              </m:r>
                              <m:d>
                                <m:dPr>
                                  <m:ctrlPr>
                                    <a:rPr lang="es-EC" sz="2000" i="1">
                                      <a:solidFill>
                                        <a:srgbClr val="836967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s-EC" sz="2000" i="1">
                                      <a:latin typeface="Cambria Math" panose="02040503050406030204" pitchFamily="18" charset="0"/>
                                    </a:rPr>
                                    <m:t>𝑁</m:t>
                                  </m:r>
                                  <m:r>
                                    <a:rPr lang="es-EC" sz="2000" i="0"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e>
                              </m:d>
                            </m:e>
                          </m:d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s-EC" sz="2000" i="1">
                                  <a:solidFill>
                                    <a:srgbClr val="836967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EC" sz="2000" i="1"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e>
                            <m:sup>
                              <m:r>
                                <a:rPr lang="es-EC" sz="2000" i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EC" sz="2000" i="1">
                              <a:latin typeface="Cambria Math" panose="02040503050406030204" pitchFamily="18" charset="0"/>
                            </a:rPr>
                            <m:t>𝑝</m:t>
                          </m:r>
                          <m:r>
                            <a:rPr lang="es-EC" sz="2000" i="0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es-EC" sz="2000" i="1">
                              <a:latin typeface="Cambria Math" panose="02040503050406030204" pitchFamily="18" charset="0"/>
                            </a:rPr>
                            <m:t>𝑞</m:t>
                          </m:r>
                        </m:den>
                      </m:f>
                    </m:oMath>
                  </m:oMathPara>
                </a14:m>
                <a:endParaRPr lang="es-EC" dirty="0"/>
              </a:p>
            </p:txBody>
          </p:sp>
        </mc:Choice>
        <mc:Fallback xmlns="">
          <p:sp>
            <p:nvSpPr>
              <p:cNvPr id="19" name="CuadroTexto 18">
                <a:extLst>
                  <a:ext uri="{FF2B5EF4-FFF2-40B4-BE49-F238E27FC236}">
                    <a16:creationId xmlns:a16="http://schemas.microsoft.com/office/drawing/2014/main" id="{48FDF370-FE10-4A12-A8E7-FE205F92E4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76281" y="3679830"/>
                <a:ext cx="6094602" cy="81374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EC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CuadroTexto 19">
            <a:extLst>
              <a:ext uri="{FF2B5EF4-FFF2-40B4-BE49-F238E27FC236}">
                <a16:creationId xmlns:a16="http://schemas.microsoft.com/office/drawing/2014/main" id="{33633BA0-9B69-490C-B560-4BDAC20B7F01}"/>
              </a:ext>
            </a:extLst>
          </p:cNvPr>
          <p:cNvSpPr txBox="1"/>
          <p:nvPr/>
        </p:nvSpPr>
        <p:spPr>
          <a:xfrm>
            <a:off x="6761479" y="2484432"/>
            <a:ext cx="26104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altLang="de-DE" sz="2800" dirty="0">
                <a:latin typeface="+mj-lt"/>
              </a:rPr>
              <a:t>Muestreo</a:t>
            </a:r>
            <a:endParaRPr lang="es-EC" sz="2800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5A3BDE2F-9C60-4FE1-8E23-228932F93971}"/>
              </a:ext>
            </a:extLst>
          </p:cNvPr>
          <p:cNvSpPr txBox="1"/>
          <p:nvPr/>
        </p:nvSpPr>
        <p:spPr>
          <a:xfrm>
            <a:off x="5955470" y="3094253"/>
            <a:ext cx="10633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latin typeface="+mj-lt"/>
              </a:rPr>
              <a:t>Oferta</a:t>
            </a:r>
            <a:endParaRPr lang="es-EC" dirty="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D9AEA1B8-7937-4CB5-8ABD-94632E12379C}"/>
              </a:ext>
            </a:extLst>
          </p:cNvPr>
          <p:cNvSpPr txBox="1"/>
          <p:nvPr/>
        </p:nvSpPr>
        <p:spPr>
          <a:xfrm>
            <a:off x="9900473" y="2887104"/>
            <a:ext cx="1793775" cy="2888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49580" algn="just">
              <a:lnSpc>
                <a:spcPct val="200000"/>
              </a:lnSpc>
              <a:spcAft>
                <a:spcPts val="800"/>
              </a:spcAft>
            </a:pPr>
            <a:r>
              <a:rPr lang="es-EC" sz="1600" b="1" dirty="0">
                <a:effectLst/>
                <a:ea typeface="Times New Roman" panose="02020603050405020304" pitchFamily="18" charset="0"/>
              </a:rPr>
              <a:t>N:</a:t>
            </a:r>
            <a:r>
              <a:rPr lang="es-EC" sz="1600" dirty="0">
                <a:effectLst/>
                <a:ea typeface="Times New Roman" panose="02020603050405020304" pitchFamily="18" charset="0"/>
              </a:rPr>
              <a:t> 4 798</a:t>
            </a:r>
            <a:endParaRPr lang="es-EC" sz="1600" dirty="0">
              <a:effectLst/>
              <a:ea typeface="Calibri" panose="020F0502020204030204" pitchFamily="34" charset="0"/>
            </a:endParaRPr>
          </a:p>
          <a:p>
            <a:pPr indent="449580" algn="just">
              <a:lnSpc>
                <a:spcPct val="200000"/>
              </a:lnSpc>
              <a:spcAft>
                <a:spcPts val="800"/>
              </a:spcAft>
            </a:pPr>
            <a:r>
              <a:rPr lang="es-EC" sz="1600" b="1" dirty="0">
                <a:effectLst/>
                <a:ea typeface="Times New Roman" panose="02020603050405020304" pitchFamily="18" charset="0"/>
              </a:rPr>
              <a:t>k: </a:t>
            </a:r>
            <a:r>
              <a:rPr lang="es-EC" sz="1600" dirty="0">
                <a:effectLst/>
                <a:ea typeface="Times New Roman" panose="02020603050405020304" pitchFamily="18" charset="0"/>
              </a:rPr>
              <a:t>1,96</a:t>
            </a:r>
            <a:endParaRPr lang="es-EC" sz="1600" dirty="0">
              <a:effectLst/>
              <a:ea typeface="Calibri" panose="020F0502020204030204" pitchFamily="34" charset="0"/>
            </a:endParaRPr>
          </a:p>
          <a:p>
            <a:pPr indent="449580" algn="just">
              <a:lnSpc>
                <a:spcPct val="200000"/>
              </a:lnSpc>
              <a:spcAft>
                <a:spcPts val="800"/>
              </a:spcAft>
            </a:pPr>
            <a:r>
              <a:rPr lang="es-EC" sz="1600" b="1" dirty="0">
                <a:effectLst/>
                <a:ea typeface="Times New Roman" panose="02020603050405020304" pitchFamily="18" charset="0"/>
              </a:rPr>
              <a:t>e: </a:t>
            </a:r>
            <a:r>
              <a:rPr lang="es-EC" sz="1600" dirty="0">
                <a:effectLst/>
                <a:ea typeface="Times New Roman" panose="02020603050405020304" pitchFamily="18" charset="0"/>
              </a:rPr>
              <a:t>0,05</a:t>
            </a:r>
            <a:endParaRPr lang="es-EC" sz="1600" dirty="0">
              <a:effectLst/>
              <a:ea typeface="Calibri" panose="020F0502020204030204" pitchFamily="34" charset="0"/>
            </a:endParaRPr>
          </a:p>
          <a:p>
            <a:pPr indent="449580" algn="just">
              <a:lnSpc>
                <a:spcPct val="200000"/>
              </a:lnSpc>
              <a:spcAft>
                <a:spcPts val="800"/>
              </a:spcAft>
            </a:pPr>
            <a:r>
              <a:rPr lang="es-EC" sz="1600" b="1" dirty="0">
                <a:effectLst/>
                <a:ea typeface="Times New Roman" panose="02020603050405020304" pitchFamily="18" charset="0"/>
              </a:rPr>
              <a:t>p</a:t>
            </a:r>
            <a:r>
              <a:rPr lang="es-EC" sz="1600" dirty="0">
                <a:effectLst/>
                <a:ea typeface="Times New Roman" panose="02020603050405020304" pitchFamily="18" charset="0"/>
              </a:rPr>
              <a:t>: 0,5</a:t>
            </a:r>
            <a:endParaRPr lang="es-EC" sz="1600" dirty="0">
              <a:effectLst/>
              <a:ea typeface="Calibri" panose="020F0502020204030204" pitchFamily="34" charset="0"/>
            </a:endParaRPr>
          </a:p>
          <a:p>
            <a:pPr indent="449580" algn="just">
              <a:lnSpc>
                <a:spcPct val="200000"/>
              </a:lnSpc>
              <a:spcAft>
                <a:spcPts val="800"/>
              </a:spcAft>
            </a:pPr>
            <a:r>
              <a:rPr lang="es-EC" sz="1600" b="1" dirty="0">
                <a:effectLst/>
                <a:ea typeface="Times New Roman" panose="02020603050405020304" pitchFamily="18" charset="0"/>
              </a:rPr>
              <a:t>q: </a:t>
            </a:r>
            <a:r>
              <a:rPr lang="es-EC" sz="1600" dirty="0">
                <a:effectLst/>
                <a:ea typeface="Times New Roman" panose="02020603050405020304" pitchFamily="18" charset="0"/>
              </a:rPr>
              <a:t>0,5</a:t>
            </a:r>
            <a:endParaRPr lang="es-EC" sz="1800" dirty="0">
              <a:effectLst/>
              <a:ea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CuadroTexto 26">
                <a:extLst>
                  <a:ext uri="{FF2B5EF4-FFF2-40B4-BE49-F238E27FC236}">
                    <a16:creationId xmlns:a16="http://schemas.microsoft.com/office/drawing/2014/main" id="{50C08036-F0C1-4C37-9BD9-443D513DA731}"/>
                  </a:ext>
                </a:extLst>
              </p:cNvPr>
              <p:cNvSpPr txBox="1"/>
              <p:nvPr/>
            </p:nvSpPr>
            <p:spPr>
              <a:xfrm>
                <a:off x="5884682" y="3679830"/>
                <a:ext cx="3972382" cy="769441"/>
              </a:xfrm>
              <a:prstGeom prst="rect">
                <a:avLst/>
              </a:prstGeom>
              <a:solidFill>
                <a:schemeClr val="bg2">
                  <a:lumMod val="75000"/>
                  <a:lumOff val="25000"/>
                </a:schemeClr>
              </a:solidFill>
            </p:spPr>
            <p:txBody>
              <a:bodyPr wrap="square" lIns="0" tIns="0" rIns="0" bIns="0" numCol="1" rtlCol="0">
                <a:spAutoFit/>
              </a:bodyPr>
              <a:lstStyle/>
              <a:p>
                <a:endParaRPr lang="es-EC" sz="1800" b="1" i="1" dirty="0">
                  <a:effectLst/>
                  <a:latin typeface="Cambria Math" panose="02040503050406030204" pitchFamily="18" charset="0"/>
                  <a:ea typeface="Calibri" panose="020F0502020204030204" pitchFamily="34" charset="0"/>
                  <a:cs typeface="Arial" panose="020B0604020202020204" pitchFamily="34" charset="0"/>
                </a:endParaRPr>
              </a:p>
              <a:p>
                <a:r>
                  <a:rPr lang="es-EC" b="1" i="1" dirty="0">
                    <a:latin typeface="Cambria Math" panose="02040503050406030204" pitchFamily="18" charset="0"/>
                    <a:ea typeface="Calibri" panose="020F0502020204030204" pitchFamily="34" charset="0"/>
                    <a:cs typeface="Arial" panose="020B0604020202020204" pitchFamily="34" charset="0"/>
                  </a:rPr>
                  <a:t>    </a:t>
                </a:r>
                <a14:m>
                  <m:oMath xmlns:m="http://schemas.openxmlformats.org/officeDocument/2006/math">
                    <m:r>
                      <a:rPr lang="es-EC" sz="1800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𝒏</m:t>
                    </m:r>
                    <m:r>
                      <a:rPr lang="es-EC" sz="1800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=</m:t>
                    </m:r>
                    <m:r>
                      <a:rPr lang="es-EC" sz="1800" b="1" i="1" smtClean="0">
                        <a:effectLst/>
                        <a:latin typeface="Cambria Math" panose="02040503050406030204" pitchFamily="18" charset="0"/>
                        <a:ea typeface="Calibri" panose="020F0502020204030204" pitchFamily="34" charset="0"/>
                        <a:cs typeface="Arial" panose="020B0604020202020204" pitchFamily="34" charset="0"/>
                      </a:rPr>
                      <m:t>𝟑𝟔𝟗</m:t>
                    </m:r>
                  </m:oMath>
                </a14:m>
                <a:r>
                  <a:rPr lang="es-EC" sz="1800" b="1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</a:rPr>
                  <a:t> personas a encuestar</a:t>
                </a:r>
                <a:endParaRPr lang="es-EC" sz="1800" dirty="0">
                  <a:effectLst/>
                  <a:latin typeface="Calibri" panose="020F0502020204030204" pitchFamily="34" charset="0"/>
                  <a:ea typeface="Calibri" panose="020F0502020204030204" pitchFamily="34" charset="0"/>
                </a:endParaRPr>
              </a:p>
              <a:p>
                <a:pPr algn="l"/>
                <a:endParaRPr lang="es-EC" sz="1400" kern="0" dirty="0"/>
              </a:p>
            </p:txBody>
          </p:sp>
        </mc:Choice>
        <mc:Fallback xmlns="">
          <p:sp>
            <p:nvSpPr>
              <p:cNvPr id="27" name="CuadroTexto 26">
                <a:extLst>
                  <a:ext uri="{FF2B5EF4-FFF2-40B4-BE49-F238E27FC236}">
                    <a16:creationId xmlns:a16="http://schemas.microsoft.com/office/drawing/2014/main" id="{50C08036-F0C1-4C37-9BD9-443D513DA7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682" y="3679830"/>
                <a:ext cx="3972382" cy="76944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EC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CuadroTexto 28">
            <a:extLst>
              <a:ext uri="{FF2B5EF4-FFF2-40B4-BE49-F238E27FC236}">
                <a16:creationId xmlns:a16="http://schemas.microsoft.com/office/drawing/2014/main" id="{0029ED34-FA78-4A2D-BA27-EBF51F29EBC6}"/>
              </a:ext>
            </a:extLst>
          </p:cNvPr>
          <p:cNvSpPr txBox="1"/>
          <p:nvPr/>
        </p:nvSpPr>
        <p:spPr>
          <a:xfrm>
            <a:off x="5995645" y="3032698"/>
            <a:ext cx="1219347" cy="49244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numCol="1" rtlCol="0">
            <a:spAutoFit/>
          </a:bodyPr>
          <a:lstStyle/>
          <a:p>
            <a:r>
              <a:rPr lang="es-EC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emanda</a:t>
            </a:r>
            <a:endParaRPr lang="es-EC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l"/>
            <a:endParaRPr lang="es-EC" sz="1400" kern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uadroTexto 30">
                <a:extLst>
                  <a:ext uri="{FF2B5EF4-FFF2-40B4-BE49-F238E27FC236}">
                    <a16:creationId xmlns:a16="http://schemas.microsoft.com/office/drawing/2014/main" id="{BB4A4D79-E1E8-45E1-A073-8093368304E3}"/>
                  </a:ext>
                </a:extLst>
              </p:cNvPr>
              <p:cNvSpPr txBox="1"/>
              <p:nvPr/>
            </p:nvSpPr>
            <p:spPr>
              <a:xfrm>
                <a:off x="5884682" y="3638380"/>
                <a:ext cx="3972382" cy="82747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txBody>
              <a:bodyPr wrap="square" lIns="0" tIns="0" rIns="0" bIns="0" numCol="1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C" i="1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s-EC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s-EC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es-EC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EC" i="1">
                                  <a:latin typeface="Cambria Math" panose="02040503050406030204" pitchFamily="18" charset="0"/>
                                </a:rPr>
                                <m:t>1,96</m:t>
                              </m:r>
                            </m:e>
                            <m:sup>
                              <m:r>
                                <a:rPr lang="es-EC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s-EC" i="1">
                              <a:latin typeface="Cambria Math" panose="02040503050406030204" pitchFamily="18" charset="0"/>
                            </a:rPr>
                            <m:t>∗0,5∗0,5</m:t>
                          </m:r>
                        </m:num>
                        <m:den>
                          <m:sSup>
                            <m:sSupPr>
                              <m:ctrlPr>
                                <a:rPr lang="es-EC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s-EC" i="1">
                                  <a:latin typeface="Cambria Math" panose="02040503050406030204" pitchFamily="18" charset="0"/>
                                </a:rPr>
                                <m:t>(0.06)</m:t>
                              </m:r>
                            </m:e>
                            <m:sup>
                              <m:r>
                                <a:rPr lang="es-EC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</m:oMath>
                  </m:oMathPara>
                </a14:m>
                <a:endParaRPr lang="es-EC" sz="1400" kern="0" dirty="0"/>
              </a:p>
              <a:p>
                <a:endParaRPr lang="es-EC" sz="1400" kern="0" dirty="0"/>
              </a:p>
            </p:txBody>
          </p:sp>
        </mc:Choice>
        <mc:Fallback xmlns="">
          <p:sp>
            <p:nvSpPr>
              <p:cNvPr id="31" name="CuadroTexto 30">
                <a:extLst>
                  <a:ext uri="{FF2B5EF4-FFF2-40B4-BE49-F238E27FC236}">
                    <a16:creationId xmlns:a16="http://schemas.microsoft.com/office/drawing/2014/main" id="{BB4A4D79-E1E8-45E1-A073-8093368304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4682" y="3638380"/>
                <a:ext cx="3972382" cy="82747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EC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CuadroTexto 31">
                <a:extLst>
                  <a:ext uri="{FF2B5EF4-FFF2-40B4-BE49-F238E27FC236}">
                    <a16:creationId xmlns:a16="http://schemas.microsoft.com/office/drawing/2014/main" id="{BA9F5D9E-5C96-480D-B87B-8FECDD13D350}"/>
                  </a:ext>
                </a:extLst>
              </p:cNvPr>
              <p:cNvSpPr txBox="1"/>
              <p:nvPr/>
            </p:nvSpPr>
            <p:spPr>
              <a:xfrm>
                <a:off x="6179696" y="4513748"/>
                <a:ext cx="3972382" cy="707886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</p:spPr>
            <p:txBody>
              <a:bodyPr wrap="square" lIns="0" tIns="0" rIns="0" bIns="0" numCol="1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s-EC"/>
                        <m:t>𝑛</m:t>
                      </m:r>
                      <m:r>
                        <m:rPr>
                          <m:nor/>
                        </m:rPr>
                        <a:rPr lang="es-EC"/>
                        <m:t> = 267 </m:t>
                      </m:r>
                      <m:r>
                        <m:rPr>
                          <m:nor/>
                        </m:rPr>
                        <a:rPr lang="es-EC"/>
                        <m:t>personas</m:t>
                      </m:r>
                      <m:r>
                        <m:rPr>
                          <m:nor/>
                        </m:rPr>
                        <a:rPr lang="es-EC"/>
                        <m:t> </m:t>
                      </m:r>
                      <m:r>
                        <m:rPr>
                          <m:nor/>
                        </m:rPr>
                        <a:rPr lang="es-EC"/>
                        <m:t>a</m:t>
                      </m:r>
                      <m:r>
                        <m:rPr>
                          <m:nor/>
                        </m:rPr>
                        <a:rPr lang="es-EC"/>
                        <m:t> </m:t>
                      </m:r>
                      <m:r>
                        <m:rPr>
                          <m:nor/>
                        </m:rPr>
                        <a:rPr lang="es-EC"/>
                        <m:t>encuestar</m:t>
                      </m:r>
                    </m:oMath>
                  </m:oMathPara>
                </a14:m>
                <a:endParaRPr lang="es-EC" dirty="0"/>
              </a:p>
              <a:p>
                <a:endParaRPr lang="es-EC" sz="1400" kern="0" dirty="0"/>
              </a:p>
              <a:p>
                <a:endParaRPr lang="es-EC" sz="1400" kern="0" dirty="0"/>
              </a:p>
            </p:txBody>
          </p:sp>
        </mc:Choice>
        <mc:Fallback xmlns="">
          <p:sp>
            <p:nvSpPr>
              <p:cNvPr id="32" name="CuadroTexto 31">
                <a:extLst>
                  <a:ext uri="{FF2B5EF4-FFF2-40B4-BE49-F238E27FC236}">
                    <a16:creationId xmlns:a16="http://schemas.microsoft.com/office/drawing/2014/main" id="{BA9F5D9E-5C96-480D-B87B-8FECDD13D3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79696" y="4513748"/>
                <a:ext cx="3972382" cy="707886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EC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CuadroTexto 33">
            <a:extLst>
              <a:ext uri="{FF2B5EF4-FFF2-40B4-BE49-F238E27FC236}">
                <a16:creationId xmlns:a16="http://schemas.microsoft.com/office/drawing/2014/main" id="{9D753723-5D02-4C8A-A7A5-02BCF257B643}"/>
              </a:ext>
            </a:extLst>
          </p:cNvPr>
          <p:cNvSpPr txBox="1"/>
          <p:nvPr/>
        </p:nvSpPr>
        <p:spPr>
          <a:xfrm>
            <a:off x="5804830" y="3032698"/>
            <a:ext cx="6080447" cy="299059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numCol="1" rtlCol="0">
            <a:spAutoFit/>
          </a:bodyPr>
          <a:lstStyle/>
          <a:p>
            <a:pPr algn="l"/>
            <a:endParaRPr lang="es-EC" sz="1400" kern="0" dirty="0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7166263C-20B1-48D6-ADE4-A53DCFCDF722}"/>
              </a:ext>
            </a:extLst>
          </p:cNvPr>
          <p:cNvSpPr/>
          <p:nvPr/>
        </p:nvSpPr>
        <p:spPr>
          <a:xfrm>
            <a:off x="6505554" y="3074148"/>
            <a:ext cx="4100539" cy="224676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28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erta= 369 personas a encuestar</a:t>
            </a:r>
          </a:p>
          <a:p>
            <a:pPr algn="ctr"/>
            <a:endParaRPr lang="es-ES" sz="28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s-ES" sz="28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a= 267 personas a encuestar</a:t>
            </a:r>
          </a:p>
        </p:txBody>
      </p:sp>
      <p:pic>
        <p:nvPicPr>
          <p:cNvPr id="1028" name="Picture 4" descr="Content Marketing: enfoque estratégico - Webtus">
            <a:extLst>
              <a:ext uri="{FF2B5EF4-FFF2-40B4-BE49-F238E27FC236}">
                <a16:creationId xmlns:a16="http://schemas.microsoft.com/office/drawing/2014/main" id="{9C15871B-2EA9-4F95-BD65-04E2C515C4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6857" y="5128586"/>
            <a:ext cx="1551353" cy="1551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Que es un modelo de encuesta | QuestionPro">
            <a:extLst>
              <a:ext uri="{FF2B5EF4-FFF2-40B4-BE49-F238E27FC236}">
                <a16:creationId xmlns:a16="http://schemas.microsoft.com/office/drawing/2014/main" id="{084FD0F5-D892-4A8F-8FC0-DE23B0FAD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551" y="4399580"/>
            <a:ext cx="2712172" cy="2484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ómo Hacer una Encuesta">
            <a:extLst>
              <a:ext uri="{FF2B5EF4-FFF2-40B4-BE49-F238E27FC236}">
                <a16:creationId xmlns:a16="http://schemas.microsoft.com/office/drawing/2014/main" id="{A6618D9A-0FA4-45FA-A1C9-48391698D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3549" y="4788536"/>
            <a:ext cx="2910561" cy="2110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630467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  <p:bldP spid="11" grpId="0" animBg="1"/>
      <p:bldP spid="15" grpId="0"/>
      <p:bldP spid="16" grpId="0"/>
      <p:bldP spid="17" grpId="0"/>
      <p:bldP spid="26" grpId="0"/>
      <p:bldP spid="27" grpId="0" animBg="1"/>
      <p:bldP spid="29" grpId="0" animBg="1"/>
      <p:bldP spid="31" grpId="0" animBg="1"/>
      <p:bldP spid="32" grpId="0" animBg="1"/>
      <p:bldP spid="34" grpId="0" animBg="1"/>
      <p:bldP spid="3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95214" y="1109436"/>
            <a:ext cx="215296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/>
              <a:t>Resultad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214" y="1869168"/>
            <a:ext cx="6056086" cy="4339650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>
                <a:latin typeface="+mj-lt"/>
              </a:rPr>
              <a:t>Situación Actual</a:t>
            </a:r>
          </a:p>
          <a:p>
            <a:endParaRPr lang="de-DE" altLang="de-DE" sz="24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r>
              <a:rPr lang="de-DE" altLang="de-DE" sz="2400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mponente geográfico </a:t>
            </a:r>
          </a:p>
          <a:p>
            <a:endParaRPr lang="de-DE" altLang="de-DE" sz="24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46,14 km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dirty="0">
                <a:effectLst/>
                <a:ea typeface="Calibri" panose="020F0502020204030204" pitchFamily="34" charset="0"/>
              </a:rPr>
              <a:t>Su altitud 1 800 </a:t>
            </a:r>
            <a:r>
              <a:rPr lang="es-EC" dirty="0" err="1">
                <a:effectLst/>
                <a:ea typeface="Calibri" panose="020F0502020204030204" pitchFamily="34" charset="0"/>
              </a:rPr>
              <a:t>m.s.n.m</a:t>
            </a:r>
            <a:r>
              <a:rPr lang="es-EC" dirty="0">
                <a:effectLst/>
                <a:ea typeface="Calibri" panose="020F0502020204030204" pitchFamily="34" charset="0"/>
              </a:rPr>
              <a:t> </a:t>
            </a:r>
          </a:p>
          <a:p>
            <a:r>
              <a:rPr lang="es-EC" dirty="0">
                <a:ea typeface="Calibri" panose="020F0502020204030204" pitchFamily="34" charset="0"/>
              </a:rPr>
              <a:t>	h</a:t>
            </a:r>
            <a:r>
              <a:rPr lang="es-EC" dirty="0">
                <a:effectLst/>
                <a:ea typeface="Calibri" panose="020F0502020204030204" pitchFamily="34" charset="0"/>
              </a:rPr>
              <a:t>asta los 500 </a:t>
            </a:r>
            <a:r>
              <a:rPr lang="es-EC" dirty="0" err="1">
                <a:effectLst/>
                <a:ea typeface="Calibri" panose="020F0502020204030204" pitchFamily="34" charset="0"/>
              </a:rPr>
              <a:t>m.s.n.m</a:t>
            </a:r>
            <a:endParaRPr lang="es-EC" dirty="0">
              <a:effectLst/>
              <a:ea typeface="Calibri" panose="020F0502020204030204" pitchFamily="34" charset="0"/>
            </a:endParaRPr>
          </a:p>
          <a:p>
            <a:endParaRPr lang="es-EC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dirty="0">
                <a:effectLst/>
                <a:ea typeface="Calibri" panose="020F0502020204030204" pitchFamily="34" charset="0"/>
              </a:rPr>
              <a:t>Clima templado – húmedo </a:t>
            </a:r>
            <a:endParaRPr lang="es-EC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C" dirty="0">
              <a:effectLst/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dirty="0">
                <a:effectLst/>
                <a:ea typeface="Calibri" panose="020F0502020204030204" pitchFamily="34" charset="0"/>
              </a:rPr>
              <a:t>Temperaturas oscilantes entre </a:t>
            </a:r>
          </a:p>
          <a:p>
            <a:r>
              <a:rPr lang="es-EC" dirty="0">
                <a:ea typeface="Calibri" panose="020F0502020204030204" pitchFamily="34" charset="0"/>
              </a:rPr>
              <a:t>	</a:t>
            </a:r>
            <a:r>
              <a:rPr lang="es-EC" dirty="0">
                <a:effectLst/>
                <a:ea typeface="Calibri" panose="020F0502020204030204" pitchFamily="34" charset="0"/>
              </a:rPr>
              <a:t>los 17° y 20° centígrados</a:t>
            </a:r>
            <a:endParaRPr lang="de-DE" altLang="de-D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de-DE" altLang="de-DE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9383226" y="817047"/>
            <a:ext cx="184731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endParaRPr lang="de-DE" altLang="de-DE" sz="6000" dirty="0">
              <a:solidFill>
                <a:schemeClr val="bg1"/>
              </a:solidFill>
            </a:endParaRPr>
          </a:p>
        </p:txBody>
      </p:sp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0A5F74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1648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1999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008" t="16550" r="41229" b="2029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7BC88AD5-2F2A-4374-B11D-EDA19D4159CF}"/>
              </a:ext>
            </a:extLst>
          </p:cNvPr>
          <p:cNvSpPr/>
          <p:nvPr/>
        </p:nvSpPr>
        <p:spPr>
          <a:xfrm>
            <a:off x="4994123" y="591425"/>
            <a:ext cx="5417827" cy="508372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s-EC" sz="1000" kern="0" dirty="0" err="1">
              <a:solidFill>
                <a:schemeClr val="tx1"/>
              </a:solidFill>
            </a:endParaRPr>
          </a:p>
        </p:txBody>
      </p:sp>
      <p:pic>
        <p:nvPicPr>
          <p:cNvPr id="25" name="Picture 4">
            <a:extLst>
              <a:ext uri="{FF2B5EF4-FFF2-40B4-BE49-F238E27FC236}">
                <a16:creationId xmlns:a16="http://schemas.microsoft.com/office/drawing/2014/main" id="{DA95D1A2-CB02-4ED0-9D41-4FD7D8105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112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1183" y="916236"/>
            <a:ext cx="5495807" cy="412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656AD752-AA63-41D8-9D14-6089C76E0748}"/>
              </a:ext>
            </a:extLst>
          </p:cNvPr>
          <p:cNvSpPr/>
          <p:nvPr/>
        </p:nvSpPr>
        <p:spPr>
          <a:xfrm>
            <a:off x="580853" y="2516697"/>
            <a:ext cx="4169329" cy="369212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s-EC" sz="1000" kern="0" dirty="0" err="1">
              <a:solidFill>
                <a:schemeClr val="tx1"/>
              </a:solidFill>
            </a:endParaRPr>
          </a:p>
        </p:txBody>
      </p:sp>
      <p:sp>
        <p:nvSpPr>
          <p:cNvPr id="27" name="TextBox 7">
            <a:extLst>
              <a:ext uri="{FF2B5EF4-FFF2-40B4-BE49-F238E27FC236}">
                <a16:creationId xmlns:a16="http://schemas.microsoft.com/office/drawing/2014/main" id="{5B091FCA-5AB6-422F-8E4D-68943E742BC6}"/>
              </a:ext>
            </a:extLst>
          </p:cNvPr>
          <p:cNvSpPr txBox="1"/>
          <p:nvPr/>
        </p:nvSpPr>
        <p:spPr>
          <a:xfrm>
            <a:off x="275477" y="1782747"/>
            <a:ext cx="6056086" cy="560153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endParaRPr lang="de-DE" altLang="de-DE" sz="24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endParaRPr lang="de-DE" altLang="de-DE" sz="24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r>
              <a:rPr lang="de-DE" altLang="de-DE" sz="2400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mponente ambiental</a:t>
            </a:r>
            <a:endParaRPr lang="de-DE" altLang="de-DE" sz="2400" dirty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</a:rPr>
              <a:t>Forma parte de la </a:t>
            </a:r>
            <a:r>
              <a:rPr lang="es-EC" dirty="0"/>
              <a:t>Mancomunidad </a:t>
            </a:r>
          </a:p>
          <a:p>
            <a:r>
              <a:rPr lang="es-EC" dirty="0"/>
              <a:t>     del Chocó Andino </a:t>
            </a:r>
            <a:endParaRPr lang="es-EC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dirty="0">
                <a:effectLst/>
                <a:ea typeface="Calibri" panose="020F0502020204030204" pitchFamily="34" charset="0"/>
              </a:rPr>
              <a:t>Clima templado – húmedo </a:t>
            </a:r>
          </a:p>
          <a:p>
            <a:r>
              <a:rPr lang="es-EC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</a:rPr>
              <a:t>1. Hidrograf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1600" dirty="0"/>
              <a:t>Los ríos </a:t>
            </a:r>
            <a:r>
              <a:rPr lang="es-EC" sz="1600" dirty="0" err="1"/>
              <a:t>Pachijal</a:t>
            </a:r>
            <a:r>
              <a:rPr lang="es-EC" sz="1600" dirty="0"/>
              <a:t> y </a:t>
            </a:r>
            <a:r>
              <a:rPr lang="es-EC" sz="1600" dirty="0" err="1"/>
              <a:t>Mashpi</a:t>
            </a:r>
            <a:r>
              <a:rPr lang="es-EC" sz="1600" dirty="0"/>
              <a:t> son los que </a:t>
            </a:r>
          </a:p>
          <a:p>
            <a:r>
              <a:rPr lang="es-EC" sz="1600" dirty="0"/>
              <a:t>     presentan un mayor caudal y de agua limpia</a:t>
            </a:r>
          </a:p>
          <a:p>
            <a:r>
              <a:rPr lang="de-DE" altLang="de-DE" sz="2000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2. Reservas Naturales</a:t>
            </a:r>
          </a:p>
          <a:p>
            <a:r>
              <a:rPr lang="es-EC" b="1" dirty="0"/>
              <a:t>Área de conservación y Uso sustentable </a:t>
            </a:r>
            <a:r>
              <a:rPr lang="es-EC" b="1" dirty="0" err="1"/>
              <a:t>Mashpi</a:t>
            </a:r>
            <a:r>
              <a:rPr lang="es-EC" b="1" dirty="0"/>
              <a:t>- </a:t>
            </a:r>
            <a:r>
              <a:rPr lang="es-EC" b="1" dirty="0" err="1"/>
              <a:t>Guaycuyacu</a:t>
            </a:r>
            <a:r>
              <a:rPr lang="es-EC" b="1" dirty="0"/>
              <a:t>- </a:t>
            </a:r>
            <a:r>
              <a:rPr lang="es-EC" b="1" dirty="0" err="1"/>
              <a:t>Sahuangal</a:t>
            </a:r>
            <a:r>
              <a:rPr lang="es-EC" b="1" dirty="0"/>
              <a:t>. </a:t>
            </a:r>
            <a:endParaRPr lang="es-EC" dirty="0"/>
          </a:p>
          <a:p>
            <a:r>
              <a:rPr lang="es-EC" b="1" dirty="0"/>
              <a:t>Área de conservación y Uso sustentable </a:t>
            </a:r>
            <a:r>
              <a:rPr lang="es-EC" b="1" dirty="0" err="1"/>
              <a:t>Pachijal</a:t>
            </a:r>
            <a:r>
              <a:rPr lang="es-EC" b="1" dirty="0"/>
              <a:t>. </a:t>
            </a:r>
            <a:endParaRPr lang="es-EC" dirty="0"/>
          </a:p>
          <a:p>
            <a:r>
              <a:rPr lang="es-EC" b="1" dirty="0"/>
              <a:t>Reserva </a:t>
            </a:r>
            <a:r>
              <a:rPr lang="es-EC" b="1" dirty="0" err="1"/>
              <a:t>Mashpi</a:t>
            </a:r>
            <a:endParaRPr lang="es-EC" dirty="0"/>
          </a:p>
          <a:p>
            <a:r>
              <a:rPr lang="es-EC" b="1" dirty="0"/>
              <a:t>Reserva </a:t>
            </a:r>
            <a:r>
              <a:rPr lang="es-EC" b="1" dirty="0" err="1"/>
              <a:t>Amagusa</a:t>
            </a:r>
            <a:endParaRPr lang="es-EC" dirty="0"/>
          </a:p>
          <a:p>
            <a:r>
              <a:rPr lang="es-EC" b="1" dirty="0"/>
              <a:t>Reserva </a:t>
            </a:r>
            <a:r>
              <a:rPr lang="es-EC" b="1" dirty="0" err="1"/>
              <a:t>Pambiliño</a:t>
            </a:r>
            <a:endParaRPr lang="es-EC" dirty="0"/>
          </a:p>
          <a:p>
            <a:endParaRPr lang="de-DE" altLang="de-DE" sz="20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endParaRPr lang="de-DE" altLang="de-DE" sz="20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endParaRPr lang="de-DE" altLang="de-DE" sz="2000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2054" name="Picture 6" descr="Ambiental – TRUE.">
            <a:extLst>
              <a:ext uri="{FF2B5EF4-FFF2-40B4-BE49-F238E27FC236}">
                <a16:creationId xmlns:a16="http://schemas.microsoft.com/office/drawing/2014/main" id="{2A03B481-B43C-4D6A-90F0-9A52C8543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036" y="-295711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7">
            <a:extLst>
              <a:ext uri="{FF2B5EF4-FFF2-40B4-BE49-F238E27FC236}">
                <a16:creationId xmlns:a16="http://schemas.microsoft.com/office/drawing/2014/main" id="{D6A603A1-D2D0-44D1-AB92-344CF4BC71B8}"/>
              </a:ext>
            </a:extLst>
          </p:cNvPr>
          <p:cNvSpPr txBox="1"/>
          <p:nvPr/>
        </p:nvSpPr>
        <p:spPr>
          <a:xfrm>
            <a:off x="8886523" y="164892"/>
            <a:ext cx="3235895" cy="61555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DOT= 50% del territorio </a:t>
            </a:r>
          </a:p>
          <a:p>
            <a:r>
              <a:rPr lang="de-DE" altLang="de-DE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a protegido</a:t>
            </a:r>
          </a:p>
        </p:txBody>
      </p:sp>
      <p:pic>
        <p:nvPicPr>
          <p:cNvPr id="2056" name="Picture 8" descr="La tolerancia cultural es clave para la armonía social">
            <a:extLst>
              <a:ext uri="{FF2B5EF4-FFF2-40B4-BE49-F238E27FC236}">
                <a16:creationId xmlns:a16="http://schemas.microsoft.com/office/drawing/2014/main" id="{565A16FE-281E-45EB-B8FA-89FB1D9BDD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573679" y="1561307"/>
            <a:ext cx="5117980" cy="4876800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7" grpId="0"/>
      <p:bldP spid="2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3421706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5"/>
                </a:solidFill>
              </a:rPr>
              <a:t>SOCIO CULTUR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677318"/>
            <a:ext cx="6056086" cy="406265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1800" dirty="0">
                <a:effectLst/>
                <a:ea typeface="Calibri" panose="020F0502020204030204" pitchFamily="34" charset="0"/>
              </a:rPr>
              <a:t>BARRIO= Directiva barrial = Velar por los intereses educativos y de salud principalmen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C" dirty="0">
              <a:ea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1800" dirty="0">
                <a:effectLst/>
                <a:ea typeface="Calibri" panose="020F0502020204030204" pitchFamily="34" charset="0"/>
              </a:rPr>
              <a:t>Organizaciones = </a:t>
            </a:r>
            <a:r>
              <a:rPr lang="es-EC" dirty="0">
                <a:ea typeface="Calibri" panose="020F0502020204030204" pitchFamily="34" charset="0"/>
              </a:rPr>
              <a:t>P</a:t>
            </a:r>
            <a:r>
              <a:rPr lang="es-EC" sz="1800" dirty="0">
                <a:effectLst/>
                <a:ea typeface="Calibri" panose="020F0502020204030204" pitchFamily="34" charset="0"/>
              </a:rPr>
              <a:t>roducción y comercialización de cárnicos, lácteos, cultivo de palmito y la caña de azúcar para la producción de panela = actividades económicas más importantes de la zon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2400" dirty="0">
                <a:solidFill>
                  <a:schemeClr val="accent1"/>
                </a:solidFill>
              </a:rPr>
              <a:t>Accesibili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2000" dirty="0"/>
              <a:t>Vías de 1er, 2do y 3er Ord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sz="2000" dirty="0"/>
              <a:t>1er Orden unicamente la principal = Calacalí-La independenc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C" sz="1800" dirty="0">
                <a:effectLst/>
                <a:ea typeface="Calibri" panose="020F0502020204030204" pitchFamily="34" charset="0"/>
              </a:rPr>
              <a:t>Cooperativa Otavalo y Cooperativa Minas con la ruta desde Quito hasta Pacto y avanzan a algunos de los barrios como El Paraíso y </a:t>
            </a:r>
            <a:r>
              <a:rPr lang="es-EC" sz="1800" dirty="0" err="1">
                <a:effectLst/>
                <a:ea typeface="Calibri" panose="020F0502020204030204" pitchFamily="34" charset="0"/>
              </a:rPr>
              <a:t>Sahuangal</a:t>
            </a:r>
            <a:endParaRPr lang="es-EC" altLang="de-DE" sz="2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185DD9D-8871-414C-A4F6-F52E6DE69C3A}"/>
              </a:ext>
            </a:extLst>
          </p:cNvPr>
          <p:cNvSpPr/>
          <p:nvPr/>
        </p:nvSpPr>
        <p:spPr>
          <a:xfrm>
            <a:off x="6474596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3C524F8-51A9-4142-B10B-2FCD35209B09}"/>
              </a:ext>
            </a:extLst>
          </p:cNvPr>
          <p:cNvSpPr/>
          <p:nvPr/>
        </p:nvSpPr>
        <p:spPr>
          <a:xfrm>
            <a:off x="682572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sp>
        <p:nvSpPr>
          <p:cNvPr id="16" name="Footnote">
            <a:extLst>
              <a:ext uri="{FF2B5EF4-FFF2-40B4-BE49-F238E27FC236}">
                <a16:creationId xmlns:a16="http://schemas.microsoft.com/office/drawing/2014/main" id="{5C58B569-9D4A-4F4D-B6F6-728FC502B3CB}"/>
              </a:ext>
            </a:extLst>
          </p:cNvPr>
          <p:cNvSpPr/>
          <p:nvPr/>
        </p:nvSpPr>
        <p:spPr>
          <a:xfrm>
            <a:off x="5421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pexels.co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1FCB952-1BC3-4938-A049-E3ECA142A2D2}"/>
              </a:ext>
            </a:extLst>
          </p:cNvPr>
          <p:cNvSpPr txBox="1"/>
          <p:nvPr/>
        </p:nvSpPr>
        <p:spPr>
          <a:xfrm>
            <a:off x="346574" y="423194"/>
            <a:ext cx="1410964" cy="95410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de-DE" altLang="de-DE" sz="2800" dirty="0">
                <a:solidFill>
                  <a:schemeClr val="bg1"/>
                </a:solidFill>
              </a:rPr>
              <a:t>2543 H</a:t>
            </a:r>
          </a:p>
          <a:p>
            <a:r>
              <a:rPr lang="de-DE" altLang="de-DE" sz="2800" dirty="0">
                <a:solidFill>
                  <a:schemeClr val="bg1"/>
                </a:solidFill>
              </a:rPr>
              <a:t>2255 M</a:t>
            </a:r>
          </a:p>
        </p:txBody>
      </p:sp>
      <p:pic>
        <p:nvPicPr>
          <p:cNvPr id="24" name="Picture 8" descr="La tolerancia cultural es clave para la armonía social">
            <a:extLst>
              <a:ext uri="{FF2B5EF4-FFF2-40B4-BE49-F238E27FC236}">
                <a16:creationId xmlns:a16="http://schemas.microsoft.com/office/drawing/2014/main" id="{403BD356-2088-47F9-9E96-E295E2C9C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07" y="1540323"/>
            <a:ext cx="5117980" cy="4876800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2">
            <a:extLst>
              <a:ext uri="{FF2B5EF4-FFF2-40B4-BE49-F238E27FC236}">
                <a16:creationId xmlns:a16="http://schemas.microsoft.com/office/drawing/2014/main" id="{88B7A787-5B10-4CB5-B730-CCAA8BC27055}"/>
              </a:ext>
            </a:extLst>
          </p:cNvPr>
          <p:cNvSpPr txBox="1"/>
          <p:nvPr/>
        </p:nvSpPr>
        <p:spPr>
          <a:xfrm>
            <a:off x="1880065" y="423194"/>
            <a:ext cx="2390211" cy="120032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sz="2400" dirty="0">
                <a:solidFill>
                  <a:schemeClr val="bg1"/>
                </a:solidFill>
              </a:rPr>
              <a:t>=4798 </a:t>
            </a:r>
          </a:p>
          <a:p>
            <a:pPr algn="ctr"/>
            <a:r>
              <a:rPr lang="de-DE" altLang="de-DE" sz="2400" dirty="0">
                <a:solidFill>
                  <a:schemeClr val="bg1"/>
                </a:solidFill>
              </a:rPr>
              <a:t>Según Censo         201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70957"/>
      </p:ext>
    </p:extLst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28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rgbClr val="A8D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353535" y="127219"/>
            <a:ext cx="2012795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079B84"/>
                </a:solidFill>
              </a:rPr>
              <a:t>Atractiv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139616" y="558106"/>
            <a:ext cx="6056086" cy="775596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en-US" sz="2400" dirty="0">
                <a:solidFill>
                  <a:srgbClr val="00B050"/>
                </a:solidFill>
              </a:rPr>
              <a:t>FINCAS AGROTURÍSTIC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inca “La Delicia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inca “</a:t>
            </a:r>
            <a:r>
              <a:rPr lang="en-US" sz="2400" dirty="0" err="1"/>
              <a:t>MashpiShungo</a:t>
            </a:r>
            <a:r>
              <a:rPr lang="en-US" sz="2400" dirty="0"/>
              <a:t>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inca “El Rosario”</a:t>
            </a:r>
          </a:p>
          <a:p>
            <a:r>
              <a:rPr lang="en-US" sz="2400" dirty="0" err="1">
                <a:solidFill>
                  <a:srgbClr val="00B050"/>
                </a:solidFill>
              </a:rPr>
              <a:t>Alojamiento</a:t>
            </a:r>
            <a:endParaRPr lang="en-US" sz="2400" dirty="0">
              <a:solidFill>
                <a:srgbClr val="00B05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Mashpi</a:t>
            </a:r>
            <a:r>
              <a:rPr lang="en-US" sz="2400" dirty="0">
                <a:solidFill>
                  <a:schemeClr val="tx2"/>
                </a:solidFill>
              </a:rPr>
              <a:t> Lo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Hosteria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 err="1">
                <a:solidFill>
                  <a:schemeClr val="tx2"/>
                </a:solidFill>
              </a:rPr>
              <a:t>Pactoloma</a:t>
            </a: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Piripe</a:t>
            </a:r>
            <a:r>
              <a:rPr lang="en-US" sz="2400" dirty="0">
                <a:solidFill>
                  <a:schemeClr val="tx2"/>
                </a:solidFill>
              </a:rPr>
              <a:t> Wellness Lodge</a:t>
            </a:r>
          </a:p>
          <a:p>
            <a:r>
              <a:rPr lang="en-US" sz="2400" dirty="0" err="1">
                <a:solidFill>
                  <a:srgbClr val="00B050"/>
                </a:solidFill>
              </a:rPr>
              <a:t>Atractivos</a:t>
            </a:r>
            <a:endParaRPr lang="en-US" sz="2400" dirty="0">
              <a:solidFill>
                <a:srgbClr val="00B05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Cascada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 err="1">
                <a:solidFill>
                  <a:schemeClr val="tx2"/>
                </a:solidFill>
              </a:rPr>
              <a:t>Gallito</a:t>
            </a:r>
            <a:r>
              <a:rPr lang="en-US" sz="2400" dirty="0">
                <a:solidFill>
                  <a:schemeClr val="tx2"/>
                </a:solidFill>
              </a:rPr>
              <a:t> de la Peñ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Río </a:t>
            </a:r>
            <a:r>
              <a:rPr lang="en-US" sz="2400" dirty="0" err="1">
                <a:solidFill>
                  <a:schemeClr val="tx2"/>
                </a:solidFill>
              </a:rPr>
              <a:t>Pachijal</a:t>
            </a: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Río </a:t>
            </a:r>
            <a:r>
              <a:rPr lang="en-US" sz="2400" dirty="0" err="1">
                <a:solidFill>
                  <a:schemeClr val="tx2"/>
                </a:solidFill>
              </a:rPr>
              <a:t>Piripe</a:t>
            </a: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Río </a:t>
            </a:r>
            <a:r>
              <a:rPr lang="en-US" sz="2400" dirty="0" err="1">
                <a:solidFill>
                  <a:schemeClr val="tx2"/>
                </a:solidFill>
              </a:rPr>
              <a:t>Mashpi</a:t>
            </a:r>
            <a:endParaRPr lang="en-US" sz="2400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Río Chirap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</a:rPr>
              <a:t>Piedra Yumb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tx2"/>
                </a:solidFill>
              </a:rPr>
              <a:t>Petroglifos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 err="1">
                <a:solidFill>
                  <a:schemeClr val="tx2"/>
                </a:solidFill>
              </a:rPr>
              <a:t>Gallito</a:t>
            </a:r>
            <a:r>
              <a:rPr lang="en-US" sz="2400" dirty="0">
                <a:solidFill>
                  <a:schemeClr val="tx2"/>
                </a:solidFill>
              </a:rPr>
              <a:t> de la Peña</a:t>
            </a:r>
          </a:p>
          <a:p>
            <a:r>
              <a:rPr lang="en-US" sz="2400" dirty="0"/>
              <a:t>	</a:t>
            </a:r>
          </a:p>
          <a:p>
            <a:endParaRPr lang="en-US" sz="2400" dirty="0"/>
          </a:p>
          <a:p>
            <a:endParaRPr lang="en-US" sz="2400" dirty="0"/>
          </a:p>
          <a:p>
            <a:br>
              <a:rPr lang="en-US" sz="2400" dirty="0"/>
            </a:b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5DEB48-65FA-4BC4-93CC-B4752488B56B}"/>
              </a:ext>
            </a:extLst>
          </p:cNvPr>
          <p:cNvSpPr txBox="1"/>
          <p:nvPr/>
        </p:nvSpPr>
        <p:spPr>
          <a:xfrm>
            <a:off x="386741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pic>
        <p:nvPicPr>
          <p:cNvPr id="23" name="Picture 2" descr="Río de la Raya en el Chocó Andino">
            <a:extLst>
              <a:ext uri="{FF2B5EF4-FFF2-40B4-BE49-F238E27FC236}">
                <a16:creationId xmlns:a16="http://schemas.microsoft.com/office/drawing/2014/main" id="{4F561420-FB1A-48DE-8B41-A951EE1575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81" y="1683655"/>
            <a:ext cx="4637752" cy="453934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p:transition spd="slow">
    <p:cover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AD23EB55-6D74-4869-AC40-17701E43C7C9}"/>
              </a:ext>
            </a:extLst>
          </p:cNvPr>
          <p:cNvSpPr/>
          <p:nvPr/>
        </p:nvSpPr>
        <p:spPr>
          <a:xfrm>
            <a:off x="7561942" y="0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651ADEAF-E52D-4F34-A758-67746C97E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680" y="803497"/>
            <a:ext cx="6211628" cy="866648"/>
          </a:xfrm>
        </p:spPr>
        <p:txBody>
          <a:bodyPr/>
          <a:lstStyle/>
          <a:p>
            <a:r>
              <a:rPr lang="es-EC" dirty="0"/>
              <a:t>Económico</a:t>
            </a:r>
          </a:p>
        </p:txBody>
      </p:sp>
      <p:sp>
        <p:nvSpPr>
          <p:cNvPr id="7" name="Marcador de contenido 6">
            <a:extLst>
              <a:ext uri="{FF2B5EF4-FFF2-40B4-BE49-F238E27FC236}">
                <a16:creationId xmlns:a16="http://schemas.microsoft.com/office/drawing/2014/main" id="{238F73C2-75B0-416D-9FE4-EED105F22B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68680" y="1399032"/>
            <a:ext cx="6211628" cy="4928616"/>
          </a:xfrm>
        </p:spPr>
        <p:txBody>
          <a:bodyPr/>
          <a:lstStyle/>
          <a:p>
            <a:r>
              <a:rPr lang="es-EC" dirty="0"/>
              <a:t>Pacto – Capital de la Panela.</a:t>
            </a:r>
          </a:p>
          <a:p>
            <a:endParaRPr lang="es-EC" dirty="0"/>
          </a:p>
          <a:p>
            <a:pPr marL="457200" indent="-457200">
              <a:buFont typeface="+mj-lt"/>
              <a:buAutoNum type="arabicPeriod"/>
            </a:pPr>
            <a:r>
              <a:rPr lang="es-EC" sz="2000" dirty="0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La población se dedica en su mayoría </a:t>
            </a:r>
            <a:r>
              <a:rPr lang="es-EC" sz="20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a e</a:t>
            </a:r>
            <a:r>
              <a:rPr lang="es-EC" sz="2000" dirty="0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mprendimientos de cultivo y producción de  productos derivados de la caña de azúcar (PANELA) el cual actualmente es la principal actividad económica de la localidad junto con la comercialización del mismo.</a:t>
            </a:r>
          </a:p>
          <a:p>
            <a:pPr marL="457200" indent="-457200">
              <a:buFont typeface="+mj-lt"/>
              <a:buAutoNum type="arabicPeriod"/>
            </a:pPr>
            <a:r>
              <a:rPr lang="es-EC" sz="2000" dirty="0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Actualmente se están </a:t>
            </a:r>
            <a:r>
              <a:rPr lang="es-EC" sz="2000" dirty="0">
                <a:solidFill>
                  <a:schemeClr val="tx2"/>
                </a:solidFill>
                <a:latin typeface="+mn-lt"/>
                <a:ea typeface="Calibri" panose="020F0502020204030204" pitchFamily="34" charset="0"/>
              </a:rPr>
              <a:t>implementando actividades relacionadas al turismo diversificando la economía del lugar.</a:t>
            </a:r>
          </a:p>
          <a:p>
            <a:pPr marL="457200" indent="-457200">
              <a:buFont typeface="+mj-lt"/>
              <a:buAutoNum type="arabicPeriod"/>
            </a:pPr>
            <a:endParaRPr lang="es-EC" dirty="0"/>
          </a:p>
          <a:p>
            <a:pPr>
              <a:buNone/>
            </a:pPr>
            <a:endParaRPr lang="es-EC" dirty="0"/>
          </a:p>
        </p:txBody>
      </p:sp>
      <p:pic>
        <p:nvPicPr>
          <p:cNvPr id="5126" name="Picture 6" descr="Panela: ¿Por qué no es tan saludable como crees?">
            <a:extLst>
              <a:ext uri="{FF2B5EF4-FFF2-40B4-BE49-F238E27FC236}">
                <a16:creationId xmlns:a16="http://schemas.microsoft.com/office/drawing/2014/main" id="{3693B61E-CF09-464F-AEB1-0A604FA2F8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2" r="19830"/>
          <a:stretch/>
        </p:blipFill>
        <p:spPr bwMode="auto">
          <a:xfrm>
            <a:off x="7007602" y="1591627"/>
            <a:ext cx="5528345" cy="4543425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6298314"/>
      </p:ext>
    </p:extLst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C6B3FC-153A-446E-8225-36150DA02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dirty="0"/>
              <a:t>RESULTADO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2F2AD03-5E62-4AAB-8411-9DA7B6CC3D97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68680" y="1399032"/>
            <a:ext cx="4198620" cy="4928616"/>
          </a:xfrm>
        </p:spPr>
        <p:txBody>
          <a:bodyPr/>
          <a:lstStyle/>
          <a:p>
            <a:r>
              <a:rPr lang="es-EC" dirty="0"/>
              <a:t>Entrevista </a:t>
            </a:r>
          </a:p>
          <a:p>
            <a:r>
              <a:rPr lang="es-EC" dirty="0"/>
              <a:t>PRESIDENTE DEL GAD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s-EC" sz="1800" b="1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Nombre:</a:t>
            </a:r>
            <a:r>
              <a:rPr lang="es-EC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 Richard Paredes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es-EC" sz="1800" b="1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Profesión:</a:t>
            </a:r>
            <a:r>
              <a:rPr lang="es-EC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 Médico Veterinario</a:t>
            </a:r>
          </a:p>
          <a:p>
            <a:pPr>
              <a:lnSpc>
                <a:spcPct val="150000"/>
              </a:lnSpc>
              <a:spcAft>
                <a:spcPts val="800"/>
              </a:spcAft>
              <a:buNone/>
            </a:pPr>
            <a:r>
              <a:rPr lang="es-EC" sz="18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Cargo de presidente de la Junta por elección Popular desde mayo del 2019 hasta mayo del 2023.</a:t>
            </a:r>
          </a:p>
          <a:p>
            <a:endParaRPr lang="es-EC" dirty="0"/>
          </a:p>
        </p:txBody>
      </p:sp>
      <p:sp>
        <p:nvSpPr>
          <p:cNvPr id="5" name="Paralelogramo 4">
            <a:extLst>
              <a:ext uri="{FF2B5EF4-FFF2-40B4-BE49-F238E27FC236}">
                <a16:creationId xmlns:a16="http://schemas.microsoft.com/office/drawing/2014/main" id="{759139AD-DF99-443F-9B1F-5D95F1D57CE1}"/>
              </a:ext>
            </a:extLst>
          </p:cNvPr>
          <p:cNvSpPr/>
          <p:nvPr/>
        </p:nvSpPr>
        <p:spPr>
          <a:xfrm>
            <a:off x="5695950" y="0"/>
            <a:ext cx="7162800" cy="6858000"/>
          </a:xfrm>
          <a:prstGeom prst="parallelogram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es-EC" sz="1000" kern="0" dirty="0" err="1">
              <a:solidFill>
                <a:schemeClr val="tx1"/>
              </a:solidFill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6F2821D6-04FC-465B-8330-6B0D20856F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0863503"/>
              </p:ext>
            </p:extLst>
          </p:nvPr>
        </p:nvGraphicFramePr>
        <p:xfrm>
          <a:off x="2967990" y="-223309"/>
          <a:ext cx="9452610" cy="6786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2" descr="Technical interview resources - Marko Denic - Web Developer">
            <a:extLst>
              <a:ext uri="{FF2B5EF4-FFF2-40B4-BE49-F238E27FC236}">
                <a16:creationId xmlns:a16="http://schemas.microsoft.com/office/drawing/2014/main" id="{BE67BA88-5ECA-4183-A1FA-F11DEE052E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990" y="4605866"/>
            <a:ext cx="4002607" cy="2252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4893973"/>
      </p:ext>
    </p:extLst>
  </p:cSld>
  <p:clrMapOvr>
    <a:masterClrMapping/>
  </p:clrMapOvr>
  <p:transition spd="slow">
    <p:cover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7145FC0-7074-4654-BFB2-9079D94333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7145FC0-7074-4654-BFB2-9079D94333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74611A9E-EFF3-4BFF-8292-E729751B99C4}"/>
              </a:ext>
            </a:extLst>
          </p:cNvPr>
          <p:cNvSpPr/>
          <p:nvPr/>
        </p:nvSpPr>
        <p:spPr>
          <a:xfrm>
            <a:off x="-15212" y="1398587"/>
            <a:ext cx="12207212" cy="53355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1822C06-3564-44B0-A787-3674A0B6C05B}"/>
              </a:ext>
            </a:extLst>
          </p:cNvPr>
          <p:cNvSpPr txBox="1"/>
          <p:nvPr/>
        </p:nvSpPr>
        <p:spPr>
          <a:xfrm>
            <a:off x="525881" y="833734"/>
            <a:ext cx="5918672" cy="461665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2400" spc="300" dirty="0">
                <a:solidFill>
                  <a:schemeClr val="accent5"/>
                </a:solidFill>
              </a:rPr>
              <a:t>RESULTADOS DE LA COMUNIDAD</a:t>
            </a:r>
          </a:p>
        </p:txBody>
      </p:sp>
      <p:graphicFrame>
        <p:nvGraphicFramePr>
          <p:cNvPr id="14" name="Diagrama 13">
            <a:extLst>
              <a:ext uri="{FF2B5EF4-FFF2-40B4-BE49-F238E27FC236}">
                <a16:creationId xmlns:a16="http://schemas.microsoft.com/office/drawing/2014/main" id="{7291D417-B92A-41ED-B736-B2783F42E5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8923255"/>
              </p:ext>
            </p:extLst>
          </p:nvPr>
        </p:nvGraphicFramePr>
        <p:xfrm>
          <a:off x="-2263776" y="2139220"/>
          <a:ext cx="12763017" cy="4300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29" name="Picture 2" descr="Territorios Etnicos con Bienestar | Portal ICBF - Instituto Colombiano de  Bienestar Familiar ICBF">
            <a:extLst>
              <a:ext uri="{FF2B5EF4-FFF2-40B4-BE49-F238E27FC236}">
                <a16:creationId xmlns:a16="http://schemas.microsoft.com/office/drawing/2014/main" id="{D68B644C-60FD-4930-9381-C9EF7FDE29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7820" y="2540126"/>
            <a:ext cx="5101010" cy="1263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Retos de la participación ciudadana en épocas de virtualidad - Derecho del  Medio Ambiente">
            <a:extLst>
              <a:ext uri="{FF2B5EF4-FFF2-40B4-BE49-F238E27FC236}">
                <a16:creationId xmlns:a16="http://schemas.microsoft.com/office/drawing/2014/main" id="{BA89C7B5-B8BA-42EF-B955-31582538A6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5" t="13839" r="17678" b="9564"/>
          <a:stretch/>
        </p:blipFill>
        <p:spPr bwMode="auto">
          <a:xfrm>
            <a:off x="8582025" y="4051328"/>
            <a:ext cx="3429000" cy="2435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3162489"/>
      </p:ext>
    </p:extLst>
  </p:cSld>
  <p:clrMapOvr>
    <a:masterClrMapping/>
  </p:clrMapOvr>
  <p:transition spd="slow">
    <p:cover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B8ACF1C-A53A-4255-BFC9-7B8BE574DE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812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B8ACF1C-A53A-4255-BFC9-7B8BE574DE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DC2753C-9722-4B34-BA3C-B9CE56CC0C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altLang="de-DE" sz="1000" kern="0" dirty="0" err="1">
              <a:solidFill>
                <a:schemeClr val="tx1"/>
              </a:solidFill>
              <a:latin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37578E6-D4F1-4431-8FE9-26BDE3814792}"/>
              </a:ext>
            </a:extLst>
          </p:cNvPr>
          <p:cNvSpPr txBox="1"/>
          <p:nvPr/>
        </p:nvSpPr>
        <p:spPr>
          <a:xfrm>
            <a:off x="3272174" y="4827588"/>
            <a:ext cx="2224968" cy="984885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200" spc="300" dirty="0">
                <a:solidFill>
                  <a:schemeClr val="accent1"/>
                </a:solidFill>
                <a:latin typeface="+mj-lt"/>
              </a:rPr>
              <a:t>Perfil del</a:t>
            </a:r>
          </a:p>
          <a:p>
            <a:r>
              <a:rPr lang="de-DE" altLang="de-DE" sz="3200" spc="300" dirty="0">
                <a:solidFill>
                  <a:schemeClr val="accent1"/>
                </a:solidFill>
                <a:latin typeface="+mj-lt"/>
              </a:rPr>
              <a:t> turista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9D72427-FE04-4B58-B41F-74581472E3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0833618"/>
              </p:ext>
            </p:extLst>
          </p:nvPr>
        </p:nvGraphicFramePr>
        <p:xfrm>
          <a:off x="6776964" y="1319485"/>
          <a:ext cx="7677152" cy="511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7170" name="Picture 2" descr="Interesantes Estadísticas Sobre Números Primos Que Murmuran Cierta  Regularidad - MasScience">
            <a:extLst>
              <a:ext uri="{FF2B5EF4-FFF2-40B4-BE49-F238E27FC236}">
                <a16:creationId xmlns:a16="http://schemas.microsoft.com/office/drawing/2014/main" id="{6544EAC8-393A-4214-B4A5-6BC139F56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3874" y="1939542"/>
            <a:ext cx="1938993" cy="193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Turista - Iconos gratis de personas">
            <a:extLst>
              <a:ext uri="{FF2B5EF4-FFF2-40B4-BE49-F238E27FC236}">
                <a16:creationId xmlns:a16="http://schemas.microsoft.com/office/drawing/2014/main" id="{3D3D29FB-BEAE-48B4-AAC0-A84F7CF428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4176" y="3765720"/>
            <a:ext cx="1442906" cy="144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Turista - Iconos gratis de personas">
            <a:extLst>
              <a:ext uri="{FF2B5EF4-FFF2-40B4-BE49-F238E27FC236}">
                <a16:creationId xmlns:a16="http://schemas.microsoft.com/office/drawing/2014/main" id="{FF7D9456-69DE-4522-A9D7-8E54EEEB3C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7383" y="3765720"/>
            <a:ext cx="1392340" cy="13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9" name="Diagrama 28">
            <a:extLst>
              <a:ext uri="{FF2B5EF4-FFF2-40B4-BE49-F238E27FC236}">
                <a16:creationId xmlns:a16="http://schemas.microsoft.com/office/drawing/2014/main" id="{7A0A2CD4-C843-47B9-9239-5A7B02636F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1077452"/>
              </p:ext>
            </p:extLst>
          </p:nvPr>
        </p:nvGraphicFramePr>
        <p:xfrm>
          <a:off x="252848" y="1045527"/>
          <a:ext cx="8210550" cy="5911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163F1B22-4014-4493-9291-C60214A40907}"/>
              </a:ext>
            </a:extLst>
          </p:cNvPr>
          <p:cNvSpPr txBox="1"/>
          <p:nvPr/>
        </p:nvSpPr>
        <p:spPr>
          <a:xfrm>
            <a:off x="3936755" y="536176"/>
            <a:ext cx="431849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  <a:latin typeface="+mj-lt"/>
              </a:rPr>
              <a:t>PERFIL DEL TURIS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9059035"/>
      </p:ext>
    </p:extLst>
  </p:cSld>
  <p:clrMapOvr>
    <a:masterClrMapping/>
  </p:clrMapOvr>
  <p:transition spd="slow">
    <p:cover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F820699-D8C9-46E7-B22A-7E2EBCDD2B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F820699-D8C9-46E7-B22A-7E2EBCDD2B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127A0B-500C-4951-93A4-425343391E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altLang="de-DE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1A9EA16-CD6F-4691-9243-A5821CCFD0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5119187"/>
              </p:ext>
            </p:extLst>
          </p:nvPr>
        </p:nvGraphicFramePr>
        <p:xfrm>
          <a:off x="587375" y="1398588"/>
          <a:ext cx="4899025" cy="493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B34BD6D3-287F-4558-913E-D438FE0CF65C}"/>
              </a:ext>
            </a:extLst>
          </p:cNvPr>
          <p:cNvSpPr txBox="1"/>
          <p:nvPr/>
        </p:nvSpPr>
        <p:spPr>
          <a:xfrm>
            <a:off x="6299202" y="516395"/>
            <a:ext cx="4318490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  <a:latin typeface="+mj-lt"/>
              </a:rPr>
              <a:t>PERFIL DEL TURISTA</a:t>
            </a: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83E03CED-5E71-4F24-918D-717F2C0DFF4C}"/>
              </a:ext>
            </a:extLst>
          </p:cNvPr>
          <p:cNvSpPr txBox="1"/>
          <p:nvPr/>
        </p:nvSpPr>
        <p:spPr>
          <a:xfrm>
            <a:off x="167250" y="2147663"/>
            <a:ext cx="5743873" cy="24622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>
              <a:spcBef>
                <a:spcPts val="300"/>
              </a:spcBef>
              <a:spcAft>
                <a:spcPts val="200"/>
              </a:spcAft>
            </a:pPr>
            <a:r>
              <a:rPr lang="de-DE" altLang="de-DE" sz="1600" spc="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	   </a:t>
            </a:r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FACD4595-D2D6-4475-86A4-5D7183823F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9252346"/>
              </p:ext>
            </p:extLst>
          </p:nvPr>
        </p:nvGraphicFramePr>
        <p:xfrm>
          <a:off x="2379662" y="648375"/>
          <a:ext cx="900747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0" name="Picture 4" descr="Turista - Iconos gratis de personas">
            <a:extLst>
              <a:ext uri="{FF2B5EF4-FFF2-40B4-BE49-F238E27FC236}">
                <a16:creationId xmlns:a16="http://schemas.microsoft.com/office/drawing/2014/main" id="{89DFE154-864D-4A80-8F1C-62841F227A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5684" y="5039002"/>
            <a:ext cx="1442906" cy="144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Turista - Iconos gratis de personas">
            <a:extLst>
              <a:ext uri="{FF2B5EF4-FFF2-40B4-BE49-F238E27FC236}">
                <a16:creationId xmlns:a16="http://schemas.microsoft.com/office/drawing/2014/main" id="{68944CAB-D535-4527-B775-68C0723E0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355"/>
            <a:ext cx="1392340" cy="139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0196072"/>
      </p:ext>
    </p:extLst>
  </p:cSld>
  <p:clrMapOvr>
    <a:masterClrMapping/>
  </p:clrMapOvr>
  <p:transition spd="slow">
    <p:cover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60323EF-72ED-4250-AF4B-C927BAF7D258}"/>
              </a:ext>
            </a:extLst>
          </p:cNvPr>
          <p:cNvSpPr txBox="1"/>
          <p:nvPr/>
        </p:nvSpPr>
        <p:spPr>
          <a:xfrm>
            <a:off x="3902765" y="1097446"/>
            <a:ext cx="43864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000" b="1" dirty="0">
                <a:latin typeface="+mj-lt"/>
              </a:rPr>
              <a:t>Capítulo III</a:t>
            </a:r>
            <a:endParaRPr lang="es-EC" sz="6000" b="1" dirty="0">
              <a:latin typeface="+mj-lt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F08CD66-3BF7-428A-A769-11577D13B7F8}"/>
              </a:ext>
            </a:extLst>
          </p:cNvPr>
          <p:cNvSpPr txBox="1"/>
          <p:nvPr/>
        </p:nvSpPr>
        <p:spPr>
          <a:xfrm>
            <a:off x="3453640" y="3290680"/>
            <a:ext cx="52847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000" dirty="0">
                <a:latin typeface="+mj-lt"/>
              </a:rPr>
              <a:t>PROPUESTA</a:t>
            </a:r>
            <a:endParaRPr lang="es-EC" sz="6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45986799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21A53D-31CE-437B-B83C-CD5E012CA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157" y="199863"/>
            <a:ext cx="4793974" cy="714537"/>
          </a:xfrm>
        </p:spPr>
        <p:txBody>
          <a:bodyPr>
            <a:normAutofit fontScale="90000"/>
          </a:bodyPr>
          <a:lstStyle/>
          <a:p>
            <a:r>
              <a:rPr lang="es-ES" sz="3200" dirty="0"/>
              <a:t>Importancia del proyecto </a:t>
            </a:r>
            <a:endParaRPr lang="es-EC" sz="3200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41DC8DE9-4084-4E8F-8396-4FD8210ED415}"/>
              </a:ext>
            </a:extLst>
          </p:cNvPr>
          <p:cNvGraphicFramePr/>
          <p:nvPr/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6" name="Picture 2" descr="Pacto">
            <a:extLst>
              <a:ext uri="{FF2B5EF4-FFF2-40B4-BE49-F238E27FC236}">
                <a16:creationId xmlns:a16="http://schemas.microsoft.com/office/drawing/2014/main" id="{2CBC1EF6-D125-49DA-98EB-BB28A4154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57" y="4159664"/>
            <a:ext cx="3795767" cy="213511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0029180"/>
      </p:ext>
    </p:extLst>
  </p:cSld>
  <p:clrMapOvr>
    <a:masterClrMapping/>
  </p:clrMapOvr>
  <p:transition spd="med">
    <p:pull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464717B0-AD1D-4F77-87B1-62BC94DBE7AF}"/>
              </a:ext>
            </a:extLst>
          </p:cNvPr>
          <p:cNvSpPr txBox="1"/>
          <p:nvPr/>
        </p:nvSpPr>
        <p:spPr>
          <a:xfrm>
            <a:off x="4710546" y="138546"/>
            <a:ext cx="381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/>
              <a:t>Matriz de estrategias DAFO</a:t>
            </a:r>
            <a:endParaRPr lang="es-EC" b="1" dirty="0"/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9C530523-B641-4A6E-9779-E2E23A8E09F6}"/>
              </a:ext>
            </a:extLst>
          </p:cNvPr>
          <p:cNvGraphicFramePr>
            <a:graphicFrameLocks noGrp="1"/>
          </p:cNvGraphicFramePr>
          <p:nvPr/>
        </p:nvGraphicFramePr>
        <p:xfrm>
          <a:off x="568036" y="507878"/>
          <a:ext cx="11000508" cy="6211576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3666836">
                  <a:extLst>
                    <a:ext uri="{9D8B030D-6E8A-4147-A177-3AD203B41FA5}">
                      <a16:colId xmlns:a16="http://schemas.microsoft.com/office/drawing/2014/main" val="4273446168"/>
                    </a:ext>
                  </a:extLst>
                </a:gridCol>
                <a:gridCol w="3666836">
                  <a:extLst>
                    <a:ext uri="{9D8B030D-6E8A-4147-A177-3AD203B41FA5}">
                      <a16:colId xmlns:a16="http://schemas.microsoft.com/office/drawing/2014/main" val="1694782916"/>
                    </a:ext>
                  </a:extLst>
                </a:gridCol>
                <a:gridCol w="3666836">
                  <a:extLst>
                    <a:ext uri="{9D8B030D-6E8A-4147-A177-3AD203B41FA5}">
                      <a16:colId xmlns:a16="http://schemas.microsoft.com/office/drawing/2014/main" val="2347014960"/>
                    </a:ext>
                  </a:extLst>
                </a:gridCol>
              </a:tblGrid>
              <a:tr h="211235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endParaRPr lang="es-EC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400" dirty="0">
                          <a:effectLst/>
                        </a:rPr>
                        <a:t>Fortalez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1: Acogida del turismo por parte de la comunidad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2: Atractivos turísticos reconocidos en la zon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3: Variedad de actividades turísticas.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4: Actividad Económica de la zona adaptable al turismo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5: Estado de la Biodiversidad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F6: Ubicación Geográfica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200" dirty="0">
                          <a:effectLst/>
                        </a:rPr>
                        <a:t>F7: Prestación de servicios complementarios</a:t>
                      </a:r>
                      <a:endParaRPr lang="es-EC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400" dirty="0">
                          <a:effectLst/>
                        </a:rPr>
                        <a:t>Debilidades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1: Débil posicionamiento en el mercado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2: Falta de capacitación técnic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3: Escaso presupuesto direccionado hacia el turismo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4: Minería Ilegal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5: Débil relación de la parte privada y públic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6: Incremento de la frontera agrícol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7: Accesibilidad afectada por el clim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D8: Recursos Turísticos no promocionados</a:t>
                      </a:r>
                      <a:endParaRPr lang="es-EC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extLst>
                  <a:ext uri="{0D108BD9-81ED-4DB2-BD59-A6C34878D82A}">
                    <a16:rowId xmlns:a16="http://schemas.microsoft.com/office/drawing/2014/main" val="4022154529"/>
                  </a:ext>
                </a:extLst>
              </a:tr>
              <a:tr h="21575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400" b="1" dirty="0">
                          <a:effectLst/>
                        </a:rPr>
                        <a:t>Oportunidades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O1: Aumento de viajeros visitantes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O2: Auge del Turismo rural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O3: Nuevos mercados a raíz de la situación sanitaria mundial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O4: Aumento de interés por las áreas apartadas de la ciudad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O5: Apoyo por parte del GAD local</a:t>
                      </a:r>
                      <a:br>
                        <a:rPr lang="es-EC" sz="1200" dirty="0">
                          <a:effectLst/>
                        </a:rPr>
                      </a:br>
                      <a:endParaRPr lang="es-EC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400" b="1" dirty="0">
                          <a:effectLst/>
                        </a:rPr>
                        <a:t>Estrategias F-O </a:t>
                      </a:r>
                      <a:r>
                        <a:rPr lang="es-ES" sz="1400" b="1" dirty="0">
                          <a:effectLst/>
                        </a:rPr>
                        <a:t>(Ofensivas)</a:t>
                      </a:r>
                      <a:endParaRPr lang="es-EC" sz="1400" b="1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dirty="0">
                          <a:effectLst/>
                        </a:rPr>
                        <a:t>Creación de una ruta turística integral para el aprovechamiento de la riqueza natural y cultural y el aumento del turismo rural como producto de la pandemia de la mano de la comunidad para su desarrollo local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b="1" dirty="0">
                          <a:effectLst/>
                        </a:rPr>
                        <a:t> (F1/F2-O1/O2).</a:t>
                      </a:r>
                      <a:endParaRPr lang="es-EC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400" b="1" dirty="0">
                          <a:effectLst/>
                        </a:rPr>
                        <a:t>Estrategias D-O (Adaptativas)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dirty="0">
                          <a:effectLst/>
                        </a:rPr>
                        <a:t>Actualización de páginas oficiales en redes para generar un reconocimiento y posicionamiento de la oferta turística frente a los nuevos turistas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dirty="0">
                          <a:effectLst/>
                        </a:rPr>
                        <a:t>(</a:t>
                      </a:r>
                      <a:r>
                        <a:rPr lang="es-EC" sz="1200" b="1" dirty="0">
                          <a:effectLst/>
                        </a:rPr>
                        <a:t>D8/D1-O1-O2-O3-O4)</a:t>
                      </a:r>
                      <a:br>
                        <a:rPr lang="es-EC" sz="1200" dirty="0">
                          <a:effectLst/>
                        </a:rPr>
                      </a:br>
                      <a:br>
                        <a:rPr lang="es-EC" sz="1200" dirty="0">
                          <a:effectLst/>
                        </a:rPr>
                      </a:br>
                      <a:endParaRPr lang="es-EC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extLst>
                  <a:ext uri="{0D108BD9-81ED-4DB2-BD59-A6C34878D82A}">
                    <a16:rowId xmlns:a16="http://schemas.microsoft.com/office/drawing/2014/main" val="913607165"/>
                  </a:ext>
                </a:extLst>
              </a:tr>
              <a:tr h="194167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400" dirty="0">
                          <a:effectLst/>
                        </a:rPr>
                        <a:t>Amenazas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A1: Parroquias aledañas que estén aprovechando al turismo rural. competencia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A2: Deterioro de la red vial principal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C" sz="1200" dirty="0">
                          <a:effectLst/>
                        </a:rPr>
                        <a:t>A3: Nuevas medidas de Confinamiento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A4: Rebrote viral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A5: Presupuesto limitado</a:t>
                      </a:r>
                      <a:br>
                        <a:rPr lang="es-EC" sz="1200" dirty="0">
                          <a:effectLst/>
                        </a:rPr>
                      </a:br>
                      <a:r>
                        <a:rPr lang="es-EC" sz="1200" dirty="0">
                          <a:effectLst/>
                        </a:rPr>
                        <a:t>A6: Alza del valor del combustible</a:t>
                      </a:r>
                      <a:endParaRPr lang="es-EC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400" b="1" dirty="0">
                          <a:effectLst/>
                        </a:rPr>
                        <a:t>Estrategias F-A (Defensivas)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dirty="0">
                          <a:effectLst/>
                        </a:rPr>
                        <a:t>Implementación de Publicidad exterior en puntos estratégicos de la red vial E28 como vía principal y que conduce hacia la Costa y hacia la parroquia Pacto.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b="1" dirty="0">
                          <a:effectLst/>
                        </a:rPr>
                        <a:t>(F7/A1, A3, A4).  </a:t>
                      </a:r>
                      <a:endParaRPr lang="es-EC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400" b="1" dirty="0">
                          <a:effectLst/>
                        </a:rPr>
                        <a:t>Estrategias O-A (Supervivencia)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dirty="0">
                          <a:effectLst/>
                        </a:rPr>
                        <a:t>Plan de capacitación a la comunidad y prestadores de servicios turísticos en temas de atención al cliente y protocolos de bioseguridad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es-EC" sz="1200" b="1" dirty="0">
                          <a:effectLst/>
                        </a:rPr>
                        <a:t>(D2/A3, A4)</a:t>
                      </a:r>
                      <a:endParaRPr lang="es-EC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2080" marR="32080" marT="0" marB="0" anchor="ctr"/>
                </a:tc>
                <a:extLst>
                  <a:ext uri="{0D108BD9-81ED-4DB2-BD59-A6C34878D82A}">
                    <a16:rowId xmlns:a16="http://schemas.microsoft.com/office/drawing/2014/main" val="16245515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0191974"/>
      </p:ext>
    </p:extLst>
  </p:cSld>
  <p:clrMapOvr>
    <a:masterClrMapping/>
  </p:clrMapOvr>
  <p:transition spd="med">
    <p:pull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3B385819-22A5-408F-A7AF-9916FE92357E}"/>
              </a:ext>
            </a:extLst>
          </p:cNvPr>
          <p:cNvSpPr txBox="1"/>
          <p:nvPr/>
        </p:nvSpPr>
        <p:spPr>
          <a:xfrm>
            <a:off x="347980" y="101670"/>
            <a:ext cx="6096000" cy="614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Bef>
                <a:spcPts val="200"/>
              </a:spcBef>
            </a:pPr>
            <a:r>
              <a:rPr lang="es-EC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trategia 1:</a:t>
            </a:r>
            <a:r>
              <a:rPr lang="es-EC" sz="20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s-EC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ción de una Ruta Turística Experiencial</a:t>
            </a: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5408CE8C-BC79-4975-A3FF-5707857EF007}"/>
              </a:ext>
            </a:extLst>
          </p:cNvPr>
          <p:cNvSpPr/>
          <p:nvPr/>
        </p:nvSpPr>
        <p:spPr>
          <a:xfrm>
            <a:off x="550840" y="845127"/>
            <a:ext cx="1162165" cy="4017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Objetivo</a:t>
            </a:r>
            <a:endParaRPr lang="es-EC" dirty="0"/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1D5D4B7B-0D18-4036-8CB3-1DC745103F86}"/>
              </a:ext>
            </a:extLst>
          </p:cNvPr>
          <p:cNvSpPr/>
          <p:nvPr/>
        </p:nvSpPr>
        <p:spPr>
          <a:xfrm>
            <a:off x="2221175" y="845127"/>
            <a:ext cx="1693600" cy="4017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Justificación</a:t>
            </a:r>
            <a:endParaRPr lang="es-EC" dirty="0"/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7E8EA508-551B-4191-A6FF-9EA975F6983F}"/>
              </a:ext>
            </a:extLst>
          </p:cNvPr>
          <p:cNvSpPr/>
          <p:nvPr/>
        </p:nvSpPr>
        <p:spPr>
          <a:xfrm>
            <a:off x="4128654" y="845127"/>
            <a:ext cx="1440873" cy="4017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cciones</a:t>
            </a:r>
            <a:endParaRPr lang="es-EC" dirty="0"/>
          </a:p>
        </p:txBody>
      </p:sp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25E4DA7D-3F37-4187-84DB-CBB8F008D754}"/>
              </a:ext>
            </a:extLst>
          </p:cNvPr>
          <p:cNvGraphicFramePr>
            <a:graphicFrameLocks noGrp="1"/>
          </p:cNvGraphicFramePr>
          <p:nvPr/>
        </p:nvGraphicFramePr>
        <p:xfrm>
          <a:off x="347980" y="1784061"/>
          <a:ext cx="6483927" cy="4696563"/>
        </p:xfrm>
        <a:graphic>
          <a:graphicData uri="http://schemas.openxmlformats.org/drawingml/2006/table">
            <a:tbl>
              <a:tblPr firstRow="1" firstCol="1" bandRow="1">
                <a:tableStyleId>{68D230F3-CF80-4859-8CE7-A43EE81993B5}</a:tableStyleId>
              </a:tblPr>
              <a:tblGrid>
                <a:gridCol w="2161055">
                  <a:extLst>
                    <a:ext uri="{9D8B030D-6E8A-4147-A177-3AD203B41FA5}">
                      <a16:colId xmlns:a16="http://schemas.microsoft.com/office/drawing/2014/main" val="3978019259"/>
                    </a:ext>
                  </a:extLst>
                </a:gridCol>
                <a:gridCol w="2161055">
                  <a:extLst>
                    <a:ext uri="{9D8B030D-6E8A-4147-A177-3AD203B41FA5}">
                      <a16:colId xmlns:a16="http://schemas.microsoft.com/office/drawing/2014/main" val="1385963745"/>
                    </a:ext>
                  </a:extLst>
                </a:gridCol>
                <a:gridCol w="2161817">
                  <a:extLst>
                    <a:ext uri="{9D8B030D-6E8A-4147-A177-3AD203B41FA5}">
                      <a16:colId xmlns:a16="http://schemas.microsoft.com/office/drawing/2014/main" val="203708428"/>
                    </a:ext>
                  </a:extLst>
                </a:gridCol>
              </a:tblGrid>
              <a:tr h="313455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Naturales</a:t>
                      </a:r>
                      <a:endParaRPr lang="es-EC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4217" marR="6421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Culturales</a:t>
                      </a:r>
                      <a:endParaRPr lang="es-EC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4217" marR="6421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Productivos</a:t>
                      </a:r>
                      <a:endParaRPr lang="es-EC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4217" marR="64217" marT="0" marB="0" anchor="ctr"/>
                </a:tc>
                <a:extLst>
                  <a:ext uri="{0D108BD9-81ED-4DB2-BD59-A6C34878D82A}">
                    <a16:rowId xmlns:a16="http://schemas.microsoft.com/office/drawing/2014/main" val="177942882"/>
                  </a:ext>
                </a:extLst>
              </a:tr>
              <a:tr h="4330993"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Cascada Gallito de la Peña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Cascada Mariposa Azul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Rio y bosque primario </a:t>
                      </a:r>
                      <a:r>
                        <a:rPr lang="es-ES" sz="1200" dirty="0" err="1">
                          <a:effectLst/>
                        </a:rPr>
                        <a:t>Pachijal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Rio y bosque primario Mashpi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Reserva </a:t>
                      </a:r>
                      <a:r>
                        <a:rPr lang="es-ES" sz="1200" dirty="0" err="1">
                          <a:effectLst/>
                        </a:rPr>
                        <a:t>Amagusa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Río </a:t>
                      </a:r>
                      <a:r>
                        <a:rPr lang="es-ES" sz="1200" dirty="0" err="1">
                          <a:effectLst/>
                        </a:rPr>
                        <a:t>Chirapi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Reserva el </a:t>
                      </a:r>
                      <a:r>
                        <a:rPr lang="es-ES" sz="1200" dirty="0" err="1">
                          <a:effectLst/>
                        </a:rPr>
                        <a:t>Shamar</a:t>
                      </a:r>
                      <a:endParaRPr lang="es-EC" sz="1200" dirty="0">
                        <a:effectLst/>
                      </a:endParaRPr>
                    </a:p>
                    <a:p>
                      <a:pPr marL="228600">
                        <a:lnSpc>
                          <a:spcPct val="200000"/>
                        </a:lnSpc>
                      </a:pPr>
                      <a:r>
                        <a:rPr lang="es-ES" sz="1100" dirty="0">
                          <a:effectLst/>
                        </a:rPr>
                        <a:t> </a:t>
                      </a:r>
                      <a:endParaRPr lang="es-EC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217" marR="64217" marT="0" marB="0" anchor="ctr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Museo de sitio </a:t>
                      </a:r>
                      <a:r>
                        <a:rPr lang="es-ES" sz="1200" dirty="0" err="1">
                          <a:effectLst/>
                        </a:rPr>
                        <a:t>Tulipe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Piedras Yumbas río </a:t>
                      </a:r>
                      <a:r>
                        <a:rPr lang="es-ES" sz="1200" dirty="0" err="1">
                          <a:effectLst/>
                        </a:rPr>
                        <a:t>Chirapi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Cabecera parroquial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Fiestas patronales y parroquiales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Feria productiva 24 de julio</a:t>
                      </a:r>
                      <a:endParaRPr lang="es-EC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217" marR="64217" marT="0" marB="0" anchor="ctr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Finca San Eduardo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Finca La Delicia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Tienda de productos orgánicos de la zona</a:t>
                      </a:r>
                      <a:endParaRPr lang="es-EC" sz="1200" dirty="0">
                        <a:effectLst/>
                      </a:endParaRPr>
                    </a:p>
                    <a:p>
                      <a:pPr marL="342900" lvl="0" indent="-342900" algn="l">
                        <a:lnSpc>
                          <a:spcPct val="200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200" dirty="0">
                          <a:effectLst/>
                        </a:rPr>
                        <a:t>Finca Hostería Pacto Loma</a:t>
                      </a:r>
                      <a:endParaRPr lang="es-EC" sz="1200" dirty="0">
                        <a:effectLst/>
                      </a:endParaRPr>
                    </a:p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es-ES" sz="1100" dirty="0">
                          <a:effectLst/>
                        </a:rPr>
                        <a:t> </a:t>
                      </a:r>
                      <a:endParaRPr lang="es-EC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4217" marR="64217" marT="0" marB="0" anchor="ctr"/>
                </a:tc>
                <a:extLst>
                  <a:ext uri="{0D108BD9-81ED-4DB2-BD59-A6C34878D82A}">
                    <a16:rowId xmlns:a16="http://schemas.microsoft.com/office/drawing/2014/main" val="3549515321"/>
                  </a:ext>
                </a:extLst>
              </a:tr>
            </a:tbl>
          </a:graphicData>
        </a:graphic>
      </p:graphicFrame>
      <p:pic>
        <p:nvPicPr>
          <p:cNvPr id="19" name="Imagen 18">
            <a:extLst>
              <a:ext uri="{FF2B5EF4-FFF2-40B4-BE49-F238E27FC236}">
                <a16:creationId xmlns:a16="http://schemas.microsoft.com/office/drawing/2014/main" id="{BD62299C-2923-437C-89CA-77E475BA65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9107" y="1516611"/>
            <a:ext cx="1284523" cy="1391955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62FE934A-FF74-48C7-83F0-BB831FC4BD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8654" y="1490691"/>
            <a:ext cx="1284523" cy="1303483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406000AD-D41D-4C9A-91F4-59FF2D8AD5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76980" y="1550460"/>
            <a:ext cx="1293219" cy="1303483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6405B833-6CC8-4FE9-9F48-49608B4A92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2204" y="2908566"/>
            <a:ext cx="1977788" cy="1032203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BBFAC8F1-1611-4349-98BB-5CD29CAAC3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36169" y="2853943"/>
            <a:ext cx="1178910" cy="1009442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86906A4D-6E79-45F7-854F-7ECEE174F1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77618" y="2887792"/>
            <a:ext cx="1188003" cy="1576704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0D219325-7A47-4314-BDAB-5905712F1F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89107" y="4048695"/>
            <a:ext cx="1108882" cy="1395662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04BF30D0-AA33-424D-9B11-5FFA25BCB4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10668" y="4139191"/>
            <a:ext cx="2266950" cy="219075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A77A8F39-BED7-483F-BB8F-99D73F618AD7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3730" y="0"/>
            <a:ext cx="3018270" cy="15595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3310282"/>
      </p:ext>
    </p:extLst>
  </p:cSld>
  <p:clrMapOvr>
    <a:masterClrMapping/>
  </p:clrMapOvr>
  <p:transition spd="med">
    <p:pull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B198613-E4A5-428D-95E0-92229DCBD4E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877732" cy="625792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AFB2888D-360B-4E15-83EF-39094F32AC8A}"/>
              </a:ext>
            </a:extLst>
          </p:cNvPr>
          <p:cNvSpPr txBox="1"/>
          <p:nvPr/>
        </p:nvSpPr>
        <p:spPr>
          <a:xfrm>
            <a:off x="9339910" y="58743"/>
            <a:ext cx="2289898" cy="646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/>
              <a:t>Itinerario 2 días –</a:t>
            </a:r>
          </a:p>
          <a:p>
            <a:pPr algn="ctr"/>
            <a:r>
              <a:rPr lang="es-ES" b="1" dirty="0"/>
              <a:t> 1 noche</a:t>
            </a:r>
            <a:endParaRPr lang="es-EC" b="1" dirty="0"/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47F4E090-ECD0-4F56-90C6-8E49B70089A7}"/>
              </a:ext>
            </a:extLst>
          </p:cNvPr>
          <p:cNvGraphicFramePr>
            <a:graphicFrameLocks noGrp="1"/>
          </p:cNvGraphicFramePr>
          <p:nvPr/>
        </p:nvGraphicFramePr>
        <p:xfrm>
          <a:off x="8877732" y="784102"/>
          <a:ext cx="3214254" cy="2259136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1071418">
                  <a:extLst>
                    <a:ext uri="{9D8B030D-6E8A-4147-A177-3AD203B41FA5}">
                      <a16:colId xmlns:a16="http://schemas.microsoft.com/office/drawing/2014/main" val="1199500470"/>
                    </a:ext>
                  </a:extLst>
                </a:gridCol>
                <a:gridCol w="1071418">
                  <a:extLst>
                    <a:ext uri="{9D8B030D-6E8A-4147-A177-3AD203B41FA5}">
                      <a16:colId xmlns:a16="http://schemas.microsoft.com/office/drawing/2014/main" val="3511160895"/>
                    </a:ext>
                  </a:extLst>
                </a:gridCol>
                <a:gridCol w="1071418">
                  <a:extLst>
                    <a:ext uri="{9D8B030D-6E8A-4147-A177-3AD203B41FA5}">
                      <a16:colId xmlns:a16="http://schemas.microsoft.com/office/drawing/2014/main" val="1368429856"/>
                    </a:ext>
                  </a:extLst>
                </a:gridCol>
              </a:tblGrid>
              <a:tr h="280638"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Costo x </a:t>
                      </a:r>
                      <a:r>
                        <a:rPr lang="es-EC" sz="1100" b="1" u="none" strike="noStrike" dirty="0" err="1">
                          <a:effectLst/>
                        </a:rPr>
                        <a:t>pax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Por grupo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Por persona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26249036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 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159,61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47664681"/>
                  </a:ext>
                </a:extLst>
              </a:tr>
              <a:tr h="294670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2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216,46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108,23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49332611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4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381,55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95,39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61368356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6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558,05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93,01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55490213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8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737,40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92,18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35626698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0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917,90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91,79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3160620"/>
                  </a:ext>
                </a:extLst>
              </a:tr>
              <a:tr h="280638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2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>
                          <a:effectLst/>
                        </a:rPr>
                        <a:t>$1.098,97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100" u="none" strike="noStrike" dirty="0">
                          <a:effectLst/>
                        </a:rPr>
                        <a:t>$91,58</a:t>
                      </a:r>
                      <a:endParaRPr lang="es-EC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53139451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7BA4F821-F0E9-4502-BD87-2815A4BF63C4}"/>
              </a:ext>
            </a:extLst>
          </p:cNvPr>
          <p:cNvSpPr txBox="1"/>
          <p:nvPr/>
        </p:nvSpPr>
        <p:spPr>
          <a:xfrm>
            <a:off x="9092477" y="3445431"/>
            <a:ext cx="2784764" cy="369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/>
              <a:t>Itinerario Full Day</a:t>
            </a:r>
            <a:endParaRPr lang="es-EC" b="1" dirty="0"/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EE1899B3-C576-4967-8B8E-0B378771DC15}"/>
              </a:ext>
            </a:extLst>
          </p:cNvPr>
          <p:cNvGraphicFramePr>
            <a:graphicFrameLocks noGrp="1"/>
          </p:cNvGraphicFramePr>
          <p:nvPr/>
        </p:nvGraphicFramePr>
        <p:xfrm>
          <a:off x="8877732" y="3814763"/>
          <a:ext cx="3214254" cy="2085973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1071418">
                  <a:extLst>
                    <a:ext uri="{9D8B030D-6E8A-4147-A177-3AD203B41FA5}">
                      <a16:colId xmlns:a16="http://schemas.microsoft.com/office/drawing/2014/main" val="2392566399"/>
                    </a:ext>
                  </a:extLst>
                </a:gridCol>
                <a:gridCol w="1071418">
                  <a:extLst>
                    <a:ext uri="{9D8B030D-6E8A-4147-A177-3AD203B41FA5}">
                      <a16:colId xmlns:a16="http://schemas.microsoft.com/office/drawing/2014/main" val="2732629294"/>
                    </a:ext>
                  </a:extLst>
                </a:gridCol>
                <a:gridCol w="1071418">
                  <a:extLst>
                    <a:ext uri="{9D8B030D-6E8A-4147-A177-3AD203B41FA5}">
                      <a16:colId xmlns:a16="http://schemas.microsoft.com/office/drawing/2014/main" val="2207377788"/>
                    </a:ext>
                  </a:extLst>
                </a:gridCol>
              </a:tblGrid>
              <a:tr h="259127"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Costo x </a:t>
                      </a:r>
                      <a:r>
                        <a:rPr lang="es-EC" sz="1100" b="1" u="none" strike="noStrike" dirty="0" err="1">
                          <a:effectLst/>
                        </a:rPr>
                        <a:t>pax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Por grupo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100" b="1" u="none" strike="noStrike" dirty="0">
                          <a:effectLst/>
                        </a:rPr>
                        <a:t>Por persona</a:t>
                      </a:r>
                      <a:endParaRPr lang="es-EC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97802508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 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76,72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72704580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2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135,59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67,80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65818007"/>
                  </a:ext>
                </a:extLst>
              </a:tr>
              <a:tr h="272084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4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178,44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44,61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80863656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6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 dirty="0">
                          <a:effectLst/>
                        </a:rPr>
                        <a:t>$260,53</a:t>
                      </a:r>
                      <a:endParaRPr lang="es-EC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43,42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81238018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8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344,04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43,01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6356746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0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428,13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42,81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8988428"/>
                  </a:ext>
                </a:extLst>
              </a:tr>
              <a:tr h="259127">
                <a:tc>
                  <a:txBody>
                    <a:bodyPr/>
                    <a:lstStyle/>
                    <a:p>
                      <a:pPr algn="r" fontAlgn="b"/>
                      <a:r>
                        <a:rPr lang="es-EC" sz="1100" u="none" strike="noStrike">
                          <a:effectLst/>
                        </a:rPr>
                        <a:t>12</a:t>
                      </a:r>
                      <a:endParaRPr lang="es-EC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>
                          <a:effectLst/>
                        </a:rPr>
                        <a:t>$512,49</a:t>
                      </a:r>
                      <a:endParaRPr lang="es-EC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00" u="none" strike="noStrike" dirty="0">
                          <a:effectLst/>
                        </a:rPr>
                        <a:t>$42,71</a:t>
                      </a:r>
                      <a:endParaRPr lang="es-EC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89927657"/>
                  </a:ext>
                </a:extLst>
              </a:tr>
            </a:tbl>
          </a:graphicData>
        </a:graphic>
      </p:graphicFrame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2CA55EC0-9426-474A-B6F7-28484CDB09C5}"/>
              </a:ext>
            </a:extLst>
          </p:cNvPr>
          <p:cNvSpPr/>
          <p:nvPr/>
        </p:nvSpPr>
        <p:spPr>
          <a:xfrm>
            <a:off x="214314" y="6300786"/>
            <a:ext cx="1604961" cy="3857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Responsable</a:t>
            </a:r>
            <a:endParaRPr lang="es-EC" dirty="0"/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D1C6DA62-69D0-40FD-AA0D-D0158CEFBAC9}"/>
              </a:ext>
            </a:extLst>
          </p:cNvPr>
          <p:cNvSpPr/>
          <p:nvPr/>
        </p:nvSpPr>
        <p:spPr>
          <a:xfrm>
            <a:off x="2162283" y="6272211"/>
            <a:ext cx="1700213" cy="4143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Beneficiario</a:t>
            </a:r>
            <a:endParaRPr lang="es-EC" dirty="0"/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D59FED7E-2C3E-4068-A8EB-15423E413DFE}"/>
              </a:ext>
            </a:extLst>
          </p:cNvPr>
          <p:cNvSpPr/>
          <p:nvPr/>
        </p:nvSpPr>
        <p:spPr>
          <a:xfrm>
            <a:off x="4396004" y="6265067"/>
            <a:ext cx="3652621" cy="3857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stimación de presupuesto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8557063"/>
      </p:ext>
    </p:extLst>
  </p:cSld>
  <p:clrMapOvr>
    <a:masterClrMapping/>
  </p:clrMapOvr>
  <p:transition spd="med"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5671C866-F508-4165-93EA-906925693448}"/>
              </a:ext>
            </a:extLst>
          </p:cNvPr>
          <p:cNvSpPr txBox="1"/>
          <p:nvPr/>
        </p:nvSpPr>
        <p:spPr>
          <a:xfrm>
            <a:off x="389334" y="195560"/>
            <a:ext cx="105263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C" sz="1800" b="1" i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strategia 2: </a:t>
            </a:r>
            <a:r>
              <a:rPr lang="es-EC" sz="1800" b="1" i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ctualización de páginas oficiales en redes para generar un reconocimiento y posicionamiento de la oferta turística frente a los nuevos turistas</a:t>
            </a:r>
            <a:endParaRPr lang="es-EC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C0328319-4F00-4BA4-BA2B-7951C1E839BC}"/>
              </a:ext>
            </a:extLst>
          </p:cNvPr>
          <p:cNvSpPr/>
          <p:nvPr/>
        </p:nvSpPr>
        <p:spPr>
          <a:xfrm>
            <a:off x="1000125" y="942975"/>
            <a:ext cx="1328738" cy="4429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Objetivo </a:t>
            </a:r>
            <a:endParaRPr lang="es-EC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77CE4DF0-DEB5-4117-AF0B-14932F2F314C}"/>
              </a:ext>
            </a:extLst>
          </p:cNvPr>
          <p:cNvSpPr/>
          <p:nvPr/>
        </p:nvSpPr>
        <p:spPr>
          <a:xfrm>
            <a:off x="2714625" y="957263"/>
            <a:ext cx="1643063" cy="4000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Justificación</a:t>
            </a:r>
            <a:endParaRPr lang="es-EC" dirty="0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CEBF498-7E99-4017-A73B-3B2CA712E243}"/>
              </a:ext>
            </a:extLst>
          </p:cNvPr>
          <p:cNvSpPr/>
          <p:nvPr/>
        </p:nvSpPr>
        <p:spPr>
          <a:xfrm>
            <a:off x="4743450" y="914400"/>
            <a:ext cx="1643063" cy="4714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cciones</a:t>
            </a:r>
            <a:endParaRPr lang="es-EC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3F62CD0E-D0F1-4BBE-872E-9A88491C2350}"/>
              </a:ext>
            </a:extLst>
          </p:cNvPr>
          <p:cNvSpPr txBox="1"/>
          <p:nvPr/>
        </p:nvSpPr>
        <p:spPr>
          <a:xfrm>
            <a:off x="7858124" y="710982"/>
            <a:ext cx="3057525" cy="64633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u="sng" dirty="0"/>
              <a:t>Diseño de plataformas digitales  oficiales</a:t>
            </a:r>
            <a:endParaRPr lang="es-EC" b="1" u="sng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CE66C2DC-589D-4171-B56E-CF831A30F776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63" y="1501260"/>
            <a:ext cx="4191000" cy="23571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992DA06-A36A-4B79-905B-1BFD0C47480D}"/>
              </a:ext>
            </a:extLst>
          </p:cNvPr>
          <p:cNvSpPr txBox="1"/>
          <p:nvPr/>
        </p:nvSpPr>
        <p:spPr>
          <a:xfrm>
            <a:off x="3910884" y="3789086"/>
            <a:ext cx="1350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Página Web</a:t>
            </a:r>
            <a:endParaRPr lang="es-EC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86C8B42-F13D-4C91-B758-D1C45C06094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969" y="1501260"/>
            <a:ext cx="4191635" cy="23577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AD2466E-1458-4C58-B2BF-56D650008A4A}"/>
              </a:ext>
            </a:extLst>
          </p:cNvPr>
          <p:cNvPicPr/>
          <p:nvPr/>
        </p:nvPicPr>
        <p:blipFill rotWithShape="1">
          <a:blip r:embed="rId4"/>
          <a:srcRect l="21531" t="5772" r="22631" b="36467"/>
          <a:stretch/>
        </p:blipFill>
        <p:spPr bwMode="auto">
          <a:xfrm>
            <a:off x="233363" y="4195050"/>
            <a:ext cx="4051935" cy="2357755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54B49E2B-0B19-4167-87BC-53F0958EFDA7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12" t="5988" r="22903" b="37351"/>
          <a:stretch/>
        </p:blipFill>
        <p:spPr bwMode="auto">
          <a:xfrm>
            <a:off x="4432059" y="4241128"/>
            <a:ext cx="4119245" cy="23577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6484D03E-1FCE-43EC-8E27-1D68659AA66E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8574" y="3401376"/>
            <a:ext cx="2745426" cy="1514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23D09075-D7AE-4FD6-8350-CB7CC6104D47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8574" y="5107125"/>
            <a:ext cx="2745425" cy="140861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3669200"/>
      </p:ext>
    </p:extLst>
  </p:cSld>
  <p:clrMapOvr>
    <a:masterClrMapping/>
  </p:clrMapOvr>
  <p:transition spd="med">
    <p:pull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EBFF864B-7A0C-4242-AD30-250BE7088433}"/>
              </a:ext>
            </a:extLst>
          </p:cNvPr>
          <p:cNvPicPr/>
          <p:nvPr/>
        </p:nvPicPr>
        <p:blipFill rotWithShape="1">
          <a:blip r:embed="rId2"/>
          <a:srcRect l="9397" t="10560" r="11005" b="5719"/>
          <a:stretch/>
        </p:blipFill>
        <p:spPr bwMode="auto">
          <a:xfrm>
            <a:off x="117656" y="142556"/>
            <a:ext cx="6079944" cy="442944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ED3FBD0-39F1-4E00-BAAF-27F6A07DA3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0492" y="604677"/>
            <a:ext cx="5953851" cy="4429445"/>
          </a:xfrm>
          <a:prstGeom prst="rect">
            <a:avLst/>
          </a:prstGeom>
          <a:ln w="12700">
            <a:solidFill>
              <a:schemeClr val="tx2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4246559"/>
      </p:ext>
    </p:extLst>
  </p:cSld>
  <p:clrMapOvr>
    <a:masterClrMapping/>
  </p:clrMapOvr>
  <p:transition spd="med">
    <p:pull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2043DC98-B7EB-4855-B31A-A05A54AFD6DB}"/>
              </a:ext>
            </a:extLst>
          </p:cNvPr>
          <p:cNvSpPr txBox="1"/>
          <p:nvPr/>
        </p:nvSpPr>
        <p:spPr>
          <a:xfrm>
            <a:off x="568523" y="371474"/>
            <a:ext cx="11054953" cy="8735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s-EC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trategia 3: </a:t>
            </a:r>
            <a:r>
              <a:rPr lang="es-ES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lementación de Publicidad exterior en puntos estratégicos de la red vial E28 como vía principal que conduce hacia la Costa y hacia la Parroquia.</a:t>
            </a:r>
            <a:endParaRPr lang="es-EC" sz="1800" b="1" i="1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51914A96-4D3B-4D8D-8288-5B08A58636DE}"/>
              </a:ext>
            </a:extLst>
          </p:cNvPr>
          <p:cNvSpPr/>
          <p:nvPr/>
        </p:nvSpPr>
        <p:spPr>
          <a:xfrm>
            <a:off x="800100" y="1400175"/>
            <a:ext cx="2114550" cy="4143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Objetivo</a:t>
            </a:r>
            <a:endParaRPr lang="es-EC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F4C375D5-A41A-4072-B905-0D70F4F3AFEA}"/>
              </a:ext>
            </a:extLst>
          </p:cNvPr>
          <p:cNvSpPr/>
          <p:nvPr/>
        </p:nvSpPr>
        <p:spPr>
          <a:xfrm>
            <a:off x="3286125" y="1400175"/>
            <a:ext cx="2114550" cy="4143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Justificación</a:t>
            </a:r>
            <a:endParaRPr lang="es-EC" dirty="0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A2BA5C6D-B9C5-4513-9233-32E3D82596F3}"/>
              </a:ext>
            </a:extLst>
          </p:cNvPr>
          <p:cNvSpPr/>
          <p:nvPr/>
        </p:nvSpPr>
        <p:spPr>
          <a:xfrm>
            <a:off x="5800725" y="1400175"/>
            <a:ext cx="1757363" cy="41433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cciones</a:t>
            </a:r>
            <a:endParaRPr lang="es-EC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6EC996F-DBE0-45C6-B123-7251F62FAD08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2" y="2002790"/>
            <a:ext cx="5069205" cy="285242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2586D9B-5547-4E46-9DDE-0D7977C813D6}"/>
              </a:ext>
            </a:extLst>
          </p:cNvPr>
          <p:cNvSpPr txBox="1"/>
          <p:nvPr/>
        </p:nvSpPr>
        <p:spPr>
          <a:xfrm>
            <a:off x="800100" y="4858821"/>
            <a:ext cx="49977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C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imera Valla:  Sector Mitad del Mundo</a:t>
            </a:r>
            <a:endParaRPr lang="es-EC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14D00287-FA4B-4CF8-B1D8-33E84FC09F1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133" y="1969642"/>
            <a:ext cx="5069205" cy="285242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E7FC8E76-596B-4D79-8EBE-40E41BCFCBD6}"/>
              </a:ext>
            </a:extLst>
          </p:cNvPr>
          <p:cNvSpPr txBox="1"/>
          <p:nvPr/>
        </p:nvSpPr>
        <p:spPr>
          <a:xfrm>
            <a:off x="6679406" y="4855210"/>
            <a:ext cx="4232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C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egunda Valla: Sector Comunidad Yunguilla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127552333"/>
      </p:ext>
    </p:extLst>
  </p:cSld>
  <p:clrMapOvr>
    <a:masterClrMapping/>
  </p:clrMapOvr>
  <p:transition spd="med">
    <p:pull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D25AE6B7-9BEE-44AE-A071-F84B0EB4735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8" y="142877"/>
            <a:ext cx="4173854" cy="290036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1880B73-E105-46EC-A29D-EAC0DAFB8138}"/>
              </a:ext>
            </a:extLst>
          </p:cNvPr>
          <p:cNvSpPr txBox="1"/>
          <p:nvPr/>
        </p:nvSpPr>
        <p:spPr>
          <a:xfrm>
            <a:off x="691276" y="3028953"/>
            <a:ext cx="35968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C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rcera Valla: Sector los Armadillos</a:t>
            </a:r>
            <a:endParaRPr lang="es-EC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550C61D-65AE-4976-B4D2-EFD49F60DC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9012" y="1611038"/>
            <a:ext cx="6081712" cy="320516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tx2">
                <a:lumMod val="50000"/>
              </a:schemeClr>
            </a:solidFill>
          </a:ln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0FE3873-DBCC-4015-BAFF-F057A171BC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149" y="3459716"/>
            <a:ext cx="2619376" cy="3255407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5A86D45-A0ED-484F-B2E4-8012FBED67B2}"/>
              </a:ext>
            </a:extLst>
          </p:cNvPr>
          <p:cNvSpPr txBox="1"/>
          <p:nvPr/>
        </p:nvSpPr>
        <p:spPr>
          <a:xfrm>
            <a:off x="3240525" y="4441088"/>
            <a:ext cx="18002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Valla: Sector La Armenia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056182133"/>
      </p:ext>
    </p:extLst>
  </p:cSld>
  <p:clrMapOvr>
    <a:masterClrMapping/>
  </p:clrMapOvr>
  <p:transition spd="med">
    <p:pull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838C67B-40FB-4B83-91C3-8B6A47914612}"/>
              </a:ext>
            </a:extLst>
          </p:cNvPr>
          <p:cNvSpPr txBox="1"/>
          <p:nvPr/>
        </p:nvSpPr>
        <p:spPr>
          <a:xfrm>
            <a:off x="117873" y="0"/>
            <a:ext cx="6093618" cy="5619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spcBef>
                <a:spcPts val="200"/>
              </a:spcBef>
            </a:pPr>
            <a:r>
              <a:rPr lang="es-EC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trategia 4: Capacitación Prestadores de Servicios Turísticos</a:t>
            </a:r>
          </a:p>
        </p:txBody>
      </p:sp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E95595DC-413F-445B-AA04-123D3DDDF657}"/>
              </a:ext>
            </a:extLst>
          </p:cNvPr>
          <p:cNvSpPr/>
          <p:nvPr/>
        </p:nvSpPr>
        <p:spPr>
          <a:xfrm>
            <a:off x="457200" y="814388"/>
            <a:ext cx="1728788" cy="3571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Objetivo</a:t>
            </a:r>
            <a:endParaRPr lang="es-EC" dirty="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id="{63382067-8459-48A0-A9D0-227B7B01E855}"/>
              </a:ext>
            </a:extLst>
          </p:cNvPr>
          <p:cNvSpPr/>
          <p:nvPr/>
        </p:nvSpPr>
        <p:spPr>
          <a:xfrm>
            <a:off x="2443163" y="814388"/>
            <a:ext cx="1571625" cy="3571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Justificación</a:t>
            </a:r>
            <a:endParaRPr lang="es-EC" dirty="0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4F75076E-64C2-4B70-9304-03C8320BB367}"/>
              </a:ext>
            </a:extLst>
          </p:cNvPr>
          <p:cNvSpPr/>
          <p:nvPr/>
        </p:nvSpPr>
        <p:spPr>
          <a:xfrm>
            <a:off x="4343400" y="814388"/>
            <a:ext cx="1752600" cy="3571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cciones</a:t>
            </a:r>
            <a:endParaRPr lang="es-EC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74EFF6-C537-451F-9C2B-1ADAFDA9D1BD}"/>
              </a:ext>
            </a:extLst>
          </p:cNvPr>
          <p:cNvSpPr txBox="1"/>
          <p:nvPr/>
        </p:nvSpPr>
        <p:spPr>
          <a:xfrm>
            <a:off x="1257300" y="1414463"/>
            <a:ext cx="4400550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/>
              <a:t>Diseño del plan de capacitación</a:t>
            </a:r>
            <a:endParaRPr lang="es-EC" b="1" dirty="0"/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5AB435C0-8367-40CB-8E52-6F5C028EA4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3063392"/>
              </p:ext>
            </p:extLst>
          </p:nvPr>
        </p:nvGraphicFramePr>
        <p:xfrm>
          <a:off x="457200" y="2257426"/>
          <a:ext cx="5943600" cy="4457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Elipse 8">
            <a:extLst>
              <a:ext uri="{FF2B5EF4-FFF2-40B4-BE49-F238E27FC236}">
                <a16:creationId xmlns:a16="http://schemas.microsoft.com/office/drawing/2014/main" id="{AF98DE74-1062-4162-813D-8FEF10E1E674}"/>
              </a:ext>
            </a:extLst>
          </p:cNvPr>
          <p:cNvSpPr/>
          <p:nvPr/>
        </p:nvSpPr>
        <p:spPr>
          <a:xfrm>
            <a:off x="4795838" y="2386013"/>
            <a:ext cx="1340644" cy="885825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8 horas</a:t>
            </a:r>
            <a:endParaRPr lang="es-EC" dirty="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611766A3-C5A4-4128-9A6F-A60B9045B8DC}"/>
              </a:ext>
            </a:extLst>
          </p:cNvPr>
          <p:cNvSpPr/>
          <p:nvPr/>
        </p:nvSpPr>
        <p:spPr>
          <a:xfrm>
            <a:off x="4795838" y="3745469"/>
            <a:ext cx="1300162" cy="98369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4 horas</a:t>
            </a:r>
            <a:endParaRPr lang="es-EC" dirty="0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ADF4399C-946E-45F2-8472-35BD97BCCCC0}"/>
              </a:ext>
            </a:extLst>
          </p:cNvPr>
          <p:cNvSpPr/>
          <p:nvPr/>
        </p:nvSpPr>
        <p:spPr>
          <a:xfrm>
            <a:off x="4882754" y="5059918"/>
            <a:ext cx="1300162" cy="98369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4 horas</a:t>
            </a:r>
            <a:endParaRPr lang="es-EC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090A44D9-6149-4B18-9684-7C863143B1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58212" y="257175"/>
            <a:ext cx="2381250" cy="3324225"/>
          </a:xfrm>
          <a:prstGeom prst="rect">
            <a:avLst/>
          </a:prstGeom>
        </p:spPr>
      </p:pic>
      <p:sp>
        <p:nvSpPr>
          <p:cNvPr id="14" name="AutoShape 2">
            <a:extLst>
              <a:ext uri="{FF2B5EF4-FFF2-40B4-BE49-F238E27FC236}">
                <a16:creationId xmlns:a16="http://schemas.microsoft.com/office/drawing/2014/main" id="{8D6E9886-E450-4C74-9116-7E3AFB7CC93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C"/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7447CA41-8321-4F44-9DBC-4A39DC228F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0813" y="3581400"/>
            <a:ext cx="5691187" cy="3276600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19704845"/>
      </p:ext>
    </p:extLst>
  </p:cSld>
  <p:clrMapOvr>
    <a:masterClrMapping/>
  </p:clrMapOvr>
  <p:transition spd="med">
    <p:pull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9B410DEC-D771-44E4-A882-49CAA9A8FB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607" y="242887"/>
            <a:ext cx="5710588" cy="6415088"/>
          </a:xfrm>
          <a:prstGeom prst="rect">
            <a:avLst/>
          </a:prstGeom>
          <a:ln w="28575">
            <a:solidFill>
              <a:schemeClr val="bg2">
                <a:lumMod val="10000"/>
              </a:schemeClr>
            </a:solidFill>
          </a:ln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53F8A22-B123-4EF4-A4CA-2609406AAE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8199" y="242888"/>
            <a:ext cx="5897194" cy="6415088"/>
          </a:xfrm>
          <a:prstGeom prst="rect">
            <a:avLst/>
          </a:prstGeom>
          <a:ln w="28575">
            <a:solidFill>
              <a:schemeClr val="bg2">
                <a:lumMod val="1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64720535"/>
      </p:ext>
    </p:extLst>
  </p:cSld>
  <p:clrMapOvr>
    <a:masterClrMapping/>
  </p:clrMapOvr>
  <p:transition spd="med">
    <p:pull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4349E651-DF9A-4D82-8633-37EDD931C995}"/>
              </a:ext>
            </a:extLst>
          </p:cNvPr>
          <p:cNvSpPr txBox="1"/>
          <p:nvPr/>
        </p:nvSpPr>
        <p:spPr>
          <a:xfrm>
            <a:off x="5015705" y="352425"/>
            <a:ext cx="2432846" cy="461665"/>
          </a:xfrm>
          <a:prstGeom prst="rect">
            <a:avLst/>
          </a:prstGeom>
          <a:solidFill>
            <a:schemeClr val="bg2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sz="2400" b="1" dirty="0"/>
              <a:t>CONCLUSIONES</a:t>
            </a:r>
            <a:endParaRPr lang="es-EC" sz="2400" b="1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89705BD6-11AE-414A-A5C6-09740F179B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5874715"/>
              </p:ext>
            </p:extLst>
          </p:nvPr>
        </p:nvGraphicFramePr>
        <p:xfrm>
          <a:off x="1473200" y="733954"/>
          <a:ext cx="9245600" cy="5966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6580618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F40D4A-A87D-43E0-8564-9151E0531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438" y="3248164"/>
            <a:ext cx="1878495" cy="552312"/>
          </a:xfr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s-ES" sz="3200" b="1" dirty="0"/>
              <a:t>Objetivos</a:t>
            </a:r>
            <a:r>
              <a:rPr lang="es-ES" sz="3200" dirty="0"/>
              <a:t> </a:t>
            </a:r>
            <a:endParaRPr lang="es-EC" sz="3200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27E60283-8C8A-4150-9511-AA3512FB8A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3550347"/>
              </p:ext>
            </p:extLst>
          </p:nvPr>
        </p:nvGraphicFramePr>
        <p:xfrm>
          <a:off x="1298712" y="1366353"/>
          <a:ext cx="10575236" cy="51676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F834560F-08D9-4924-84C5-28DFF8A61263}"/>
              </a:ext>
            </a:extLst>
          </p:cNvPr>
          <p:cNvSpPr/>
          <p:nvPr/>
        </p:nvSpPr>
        <p:spPr>
          <a:xfrm>
            <a:off x="2237960" y="397565"/>
            <a:ext cx="9119153" cy="689113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C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Analizar al Turismo rural como elemento para el desarrollo local con el fin de diversificar la actividad económica de la parroquia de Pacto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721525379"/>
      </p:ext>
    </p:extLst>
  </p:cSld>
  <p:clrMapOvr>
    <a:masterClrMapping/>
  </p:clrMapOvr>
  <p:transition spd="med">
    <p:pull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078E0A67-E58B-4197-B195-F49BEF40639E}"/>
              </a:ext>
            </a:extLst>
          </p:cNvPr>
          <p:cNvSpPr txBox="1"/>
          <p:nvPr/>
        </p:nvSpPr>
        <p:spPr>
          <a:xfrm>
            <a:off x="4774406" y="466725"/>
            <a:ext cx="2643188" cy="400110"/>
          </a:xfrm>
          <a:prstGeom prst="rect">
            <a:avLst/>
          </a:prstGeom>
          <a:solidFill>
            <a:schemeClr val="bg2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sz="2000" b="1" dirty="0"/>
              <a:t>RECOMENDACIONES</a:t>
            </a:r>
            <a:endParaRPr lang="es-EC" sz="2000" b="1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0B0BBAB5-6BF0-4F90-AA60-8B42ED7E1A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2414463"/>
              </p:ext>
            </p:extLst>
          </p:nvPr>
        </p:nvGraphicFramePr>
        <p:xfrm>
          <a:off x="1473200" y="733954"/>
          <a:ext cx="9245600" cy="5966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8272771"/>
      </p:ext>
    </p:extLst>
  </p:cSld>
  <p:clrMapOvr>
    <a:masterClrMapping/>
  </p:clrMapOvr>
  <p:transition spd="med">
    <p:pull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65F006-AB9B-4809-9D38-FF1AF64C4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DC1C5E8-AFA8-4D0B-9CBD-CD491654DDD9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algn="ctr"/>
            <a:r>
              <a:rPr lang="es-EC" sz="16600" dirty="0"/>
              <a:t>GRACIAS</a:t>
            </a:r>
          </a:p>
          <a:p>
            <a:pPr algn="ctr"/>
            <a:r>
              <a:rPr lang="es-EC" sz="8800" dirty="0"/>
              <a:t>POR SU ATENCIÓN</a:t>
            </a:r>
          </a:p>
        </p:txBody>
      </p:sp>
    </p:spTree>
    <p:extLst>
      <p:ext uri="{BB962C8B-B14F-4D97-AF65-F5344CB8AC3E}">
        <p14:creationId xmlns:p14="http://schemas.microsoft.com/office/powerpoint/2010/main" val="2166796345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60323EF-72ED-4250-AF4B-C927BAF7D258}"/>
              </a:ext>
            </a:extLst>
          </p:cNvPr>
          <p:cNvSpPr txBox="1"/>
          <p:nvPr/>
        </p:nvSpPr>
        <p:spPr>
          <a:xfrm>
            <a:off x="2787511" y="916471"/>
            <a:ext cx="56156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 dirty="0">
                <a:latin typeface="+mj-lt"/>
              </a:rPr>
              <a:t>Capítulo I</a:t>
            </a:r>
            <a:endParaRPr lang="es-EC" sz="7200" b="1" dirty="0">
              <a:latin typeface="+mj-lt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F08CD66-3BF7-428A-A769-11577D13B7F8}"/>
              </a:ext>
            </a:extLst>
          </p:cNvPr>
          <p:cNvSpPr txBox="1"/>
          <p:nvPr/>
        </p:nvSpPr>
        <p:spPr>
          <a:xfrm>
            <a:off x="3402081" y="2938255"/>
            <a:ext cx="438647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600" dirty="0">
                <a:latin typeface="+mj-lt"/>
              </a:rPr>
              <a:t>MARCO TEÓRICO </a:t>
            </a:r>
            <a:endParaRPr lang="es-EC" sz="6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23442258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A9909C97-BFF3-4088-ACCF-03970EA59BE1}"/>
              </a:ext>
            </a:extLst>
          </p:cNvPr>
          <p:cNvSpPr txBox="1"/>
          <p:nvPr/>
        </p:nvSpPr>
        <p:spPr>
          <a:xfrm>
            <a:off x="5128593" y="240269"/>
            <a:ext cx="3061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Teorías de soporte </a:t>
            </a:r>
            <a:endParaRPr lang="es-EC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2AB68BF-A58B-4B12-A33C-6BD8FE8B4B50}"/>
              </a:ext>
            </a:extLst>
          </p:cNvPr>
          <p:cNvSpPr txBox="1"/>
          <p:nvPr/>
        </p:nvSpPr>
        <p:spPr>
          <a:xfrm>
            <a:off x="887896" y="768625"/>
            <a:ext cx="4651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Teoría General de Sistemas y sistemas Turísticos </a:t>
            </a:r>
            <a:endParaRPr lang="es-EC" dirty="0"/>
          </a:p>
        </p:txBody>
      </p:sp>
      <p:pic>
        <p:nvPicPr>
          <p:cNvPr id="2050" name="Picture 2" descr="Sistema - Concepto, tipos de sistema y ejemplos">
            <a:extLst>
              <a:ext uri="{FF2B5EF4-FFF2-40B4-BE49-F238E27FC236}">
                <a16:creationId xmlns:a16="http://schemas.microsoft.com/office/drawing/2014/main" id="{A65861F7-D3E6-4334-92B8-5D2D6576FE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9" r="15915"/>
          <a:stretch/>
        </p:blipFill>
        <p:spPr bwMode="auto">
          <a:xfrm>
            <a:off x="1643270" y="1247280"/>
            <a:ext cx="2690190" cy="203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bierto - Banco de fotos e imágenes de stock - iStock">
            <a:extLst>
              <a:ext uri="{FF2B5EF4-FFF2-40B4-BE49-F238E27FC236}">
                <a16:creationId xmlns:a16="http://schemas.microsoft.com/office/drawing/2014/main" id="{397AD064-A10B-4E60-BE53-5B8B392DD3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680" t="41901" r="16808" b="26726"/>
          <a:stretch/>
        </p:blipFill>
        <p:spPr bwMode="auto">
          <a:xfrm>
            <a:off x="3604592" y="2262649"/>
            <a:ext cx="1258956" cy="61938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1A7527DD-9D40-43AF-A1C5-C9F365EA3659}"/>
              </a:ext>
            </a:extLst>
          </p:cNvPr>
          <p:cNvSpPr txBox="1"/>
          <p:nvPr/>
        </p:nvSpPr>
        <p:spPr>
          <a:xfrm>
            <a:off x="583096" y="4704522"/>
            <a:ext cx="1060174" cy="36933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" b="1" dirty="0"/>
              <a:t>Modelos</a:t>
            </a:r>
            <a:r>
              <a:rPr lang="es-ES" dirty="0"/>
              <a:t> </a:t>
            </a:r>
            <a:endParaRPr lang="es-EC" dirty="0"/>
          </a:p>
        </p:txBody>
      </p:sp>
      <p:cxnSp>
        <p:nvCxnSpPr>
          <p:cNvPr id="6" name="Conector recto de flecha 5">
            <a:extLst>
              <a:ext uri="{FF2B5EF4-FFF2-40B4-BE49-F238E27FC236}">
                <a16:creationId xmlns:a16="http://schemas.microsoft.com/office/drawing/2014/main" id="{E77084D0-67BA-4CFC-BD58-3E5EA3858FB3}"/>
              </a:ext>
            </a:extLst>
          </p:cNvPr>
          <p:cNvCxnSpPr>
            <a:stCxn id="4" idx="3"/>
          </p:cNvCxnSpPr>
          <p:nvPr/>
        </p:nvCxnSpPr>
        <p:spPr>
          <a:xfrm flipV="1">
            <a:off x="1643270" y="4028661"/>
            <a:ext cx="742121" cy="8605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53609038-27A3-4734-A0C7-D4535CB7774C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1643270" y="4704522"/>
            <a:ext cx="1046921" cy="184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Conector recto de flecha 9">
            <a:extLst>
              <a:ext uri="{FF2B5EF4-FFF2-40B4-BE49-F238E27FC236}">
                <a16:creationId xmlns:a16="http://schemas.microsoft.com/office/drawing/2014/main" id="{FA88877E-E387-44D1-813F-6C385B2F4B9B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3270" y="4889188"/>
            <a:ext cx="1060174" cy="4932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Conector recto de flecha 11">
            <a:extLst>
              <a:ext uri="{FF2B5EF4-FFF2-40B4-BE49-F238E27FC236}">
                <a16:creationId xmlns:a16="http://schemas.microsoft.com/office/drawing/2014/main" id="{15CABA28-AC47-46C2-9E32-571FF088EBE1}"/>
              </a:ext>
            </a:extLst>
          </p:cNvPr>
          <p:cNvCxnSpPr>
            <a:cxnSpLocks/>
            <a:stCxn id="4" idx="3"/>
          </p:cNvCxnSpPr>
          <p:nvPr/>
        </p:nvCxnSpPr>
        <p:spPr>
          <a:xfrm>
            <a:off x="1643270" y="4889188"/>
            <a:ext cx="589721" cy="9682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BABE5716-0E11-40C2-B0CF-E0FB10092076}"/>
              </a:ext>
            </a:extLst>
          </p:cNvPr>
          <p:cNvSpPr txBox="1"/>
          <p:nvPr/>
        </p:nvSpPr>
        <p:spPr>
          <a:xfrm>
            <a:off x="2385391" y="3805191"/>
            <a:ext cx="19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Sist</a:t>
            </a:r>
            <a:r>
              <a:rPr lang="es-ES" dirty="0"/>
              <a:t>. Tur de </a:t>
            </a:r>
            <a:r>
              <a:rPr lang="es-ES" dirty="0" err="1"/>
              <a:t>Leiper</a:t>
            </a:r>
            <a:endParaRPr lang="es-EC" dirty="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A5ED561-E171-4678-9DFD-76C7D45E2DA8}"/>
              </a:ext>
            </a:extLst>
          </p:cNvPr>
          <p:cNvSpPr txBox="1"/>
          <p:nvPr/>
        </p:nvSpPr>
        <p:spPr>
          <a:xfrm>
            <a:off x="2703444" y="5136435"/>
            <a:ext cx="190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Teoría del espacio tur. de </a:t>
            </a:r>
            <a:r>
              <a:rPr lang="es-ES" dirty="0" err="1"/>
              <a:t>Boullon</a:t>
            </a:r>
            <a:endParaRPr lang="es-EC" dirty="0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DB9459C-ABBD-49B1-80B0-333915843C96}"/>
              </a:ext>
            </a:extLst>
          </p:cNvPr>
          <p:cNvSpPr txBox="1"/>
          <p:nvPr/>
        </p:nvSpPr>
        <p:spPr>
          <a:xfrm>
            <a:off x="2703444" y="4456773"/>
            <a:ext cx="1908312" cy="370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Sist</a:t>
            </a:r>
            <a:r>
              <a:rPr lang="es-ES" dirty="0"/>
              <a:t>. Tur de Molina</a:t>
            </a:r>
            <a:endParaRPr lang="es-EC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6F0A8DB2-5918-4E7B-B063-2028B3BFFCB3}"/>
              </a:ext>
            </a:extLst>
          </p:cNvPr>
          <p:cNvSpPr txBox="1"/>
          <p:nvPr/>
        </p:nvSpPr>
        <p:spPr>
          <a:xfrm>
            <a:off x="2232991" y="5857461"/>
            <a:ext cx="23787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18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Krippendorf</a:t>
            </a:r>
            <a:r>
              <a:rPr lang="es-EC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y </a:t>
            </a:r>
            <a:r>
              <a:rPr lang="es-EC" sz="1800" dirty="0" err="1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Jafarí</a:t>
            </a:r>
            <a:r>
              <a:rPr lang="es-EC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endParaRPr lang="es-EC" dirty="0"/>
          </a:p>
        </p:txBody>
      </p:sp>
      <p:cxnSp>
        <p:nvCxnSpPr>
          <p:cNvPr id="23" name="Conector: angular 22">
            <a:extLst>
              <a:ext uri="{FF2B5EF4-FFF2-40B4-BE49-F238E27FC236}">
                <a16:creationId xmlns:a16="http://schemas.microsoft.com/office/drawing/2014/main" id="{C6506CBA-C575-4FF1-9104-914A80EA92D8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4611756" y="4333547"/>
            <a:ext cx="575333" cy="30859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91D9E176-C17A-4D09-8DBA-4BF458475DCC}"/>
              </a:ext>
            </a:extLst>
          </p:cNvPr>
          <p:cNvSpPr/>
          <p:nvPr/>
        </p:nvSpPr>
        <p:spPr>
          <a:xfrm>
            <a:off x="5200216" y="4042484"/>
            <a:ext cx="1338470" cy="59966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MOLINA</a:t>
            </a:r>
            <a:endParaRPr lang="es-EC" dirty="0"/>
          </a:p>
        </p:txBody>
      </p:sp>
      <p:pic>
        <p:nvPicPr>
          <p:cNvPr id="2054" name="Picture 6">
            <a:extLst>
              <a:ext uri="{FF2B5EF4-FFF2-40B4-BE49-F238E27FC236}">
                <a16:creationId xmlns:a16="http://schemas.microsoft.com/office/drawing/2014/main" id="{562EB2E4-10F8-4548-82F9-07BD50BAA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7393" y="2916482"/>
            <a:ext cx="2478154" cy="185861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1: “Como turistas conocemos lugares” – Matemática 4to. 2019">
            <a:extLst>
              <a:ext uri="{FF2B5EF4-FFF2-40B4-BE49-F238E27FC236}">
                <a16:creationId xmlns:a16="http://schemas.microsoft.com/office/drawing/2014/main" id="{C85B87AE-AE9F-446E-B7D1-7FC0C30AF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431" y="3091220"/>
            <a:ext cx="1338470" cy="1671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omunidad rural animada - Imagui">
            <a:extLst>
              <a:ext uri="{FF2B5EF4-FFF2-40B4-BE49-F238E27FC236}">
                <a16:creationId xmlns:a16="http://schemas.microsoft.com/office/drawing/2014/main" id="{51708F47-F714-4E7B-823B-0694F4503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427" y="4891205"/>
            <a:ext cx="1571418" cy="1536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Conjunto De 9 Iconos De Construcción Simples. Se Pueden Encontrar Elementos  Tales Como Superestructura, Piso, Residencia Y Otros. Ilustraciones  Vectoriales, Clip Art Vectorizado Libre De Derechos. Image 71349481.">
            <a:extLst>
              <a:ext uri="{FF2B5EF4-FFF2-40B4-BE49-F238E27FC236}">
                <a16:creationId xmlns:a16="http://schemas.microsoft.com/office/drawing/2014/main" id="{059A7BCF-2E44-49E9-9621-FC8F205B56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040" y="1219706"/>
            <a:ext cx="1762536" cy="1742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Servicios turisticos vector, gráfico vectorial, imágenes de Servicios  turisticos vectoriales de stock | Depositphotos®">
            <a:extLst>
              <a:ext uri="{FF2B5EF4-FFF2-40B4-BE49-F238E27FC236}">
                <a16:creationId xmlns:a16="http://schemas.microsoft.com/office/drawing/2014/main" id="{8587FCA4-6879-4BB9-9F5F-957CA8B63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254" y="3030572"/>
            <a:ext cx="1611573" cy="1611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Iconos De Las Ubicaciones Del Viaje Y Del Turismo Ilustración del Vector -  Ilustración de momia, eiffel: 45087673">
            <a:extLst>
              <a:ext uri="{FF2B5EF4-FFF2-40B4-BE49-F238E27FC236}">
                <a16:creationId xmlns:a16="http://schemas.microsoft.com/office/drawing/2014/main" id="{EC22C0A6-09F4-4956-A8FF-CA4C0DCFD8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004"/>
          <a:stretch/>
        </p:blipFill>
        <p:spPr bwMode="auto">
          <a:xfrm>
            <a:off x="9743567" y="1219706"/>
            <a:ext cx="1931348" cy="1696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 descr="La infraestructura urbana en el conjunto de iconos de estilo de dibujos  animados sobre un fondo blanco Imagen Vector de stock - Alamy">
            <a:extLst>
              <a:ext uri="{FF2B5EF4-FFF2-40B4-BE49-F238E27FC236}">
                <a16:creationId xmlns:a16="http://schemas.microsoft.com/office/drawing/2014/main" id="{3D36E827-B915-4BD8-B6BA-26FB328756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70"/>
          <a:stretch/>
        </p:blipFill>
        <p:spPr bwMode="auto">
          <a:xfrm>
            <a:off x="10088907" y="4962774"/>
            <a:ext cx="1790637" cy="1789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Conector recto de flecha 27">
            <a:extLst>
              <a:ext uri="{FF2B5EF4-FFF2-40B4-BE49-F238E27FC236}">
                <a16:creationId xmlns:a16="http://schemas.microsoft.com/office/drawing/2014/main" id="{F6E9A4B7-DFE7-42BC-9A66-1E6CA93B70B0}"/>
              </a:ext>
            </a:extLst>
          </p:cNvPr>
          <p:cNvCxnSpPr/>
          <p:nvPr/>
        </p:nvCxnSpPr>
        <p:spPr>
          <a:xfrm flipH="1" flipV="1">
            <a:off x="8070576" y="2572339"/>
            <a:ext cx="304798" cy="4582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D388DFB5-B43C-4FA5-AF7C-D4741A79FFE7}"/>
              </a:ext>
            </a:extLst>
          </p:cNvPr>
          <p:cNvCxnSpPr/>
          <p:nvPr/>
        </p:nvCxnSpPr>
        <p:spPr>
          <a:xfrm flipH="1">
            <a:off x="7819202" y="3697815"/>
            <a:ext cx="1376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2" name="Conector recto de flecha 31">
            <a:extLst>
              <a:ext uri="{FF2B5EF4-FFF2-40B4-BE49-F238E27FC236}">
                <a16:creationId xmlns:a16="http://schemas.microsoft.com/office/drawing/2014/main" id="{A2B0CB75-54D9-480C-8782-9D5DC2A75B7A}"/>
              </a:ext>
            </a:extLst>
          </p:cNvPr>
          <p:cNvCxnSpPr/>
          <p:nvPr/>
        </p:nvCxnSpPr>
        <p:spPr>
          <a:xfrm flipH="1">
            <a:off x="8222975" y="4704522"/>
            <a:ext cx="390938" cy="5698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4" name="Conector recto de flecha 33">
            <a:extLst>
              <a:ext uri="{FF2B5EF4-FFF2-40B4-BE49-F238E27FC236}">
                <a16:creationId xmlns:a16="http://schemas.microsoft.com/office/drawing/2014/main" id="{183B9585-BFD3-4904-A747-95B0B9E2DC36}"/>
              </a:ext>
            </a:extLst>
          </p:cNvPr>
          <p:cNvCxnSpPr/>
          <p:nvPr/>
        </p:nvCxnSpPr>
        <p:spPr>
          <a:xfrm>
            <a:off x="9855963" y="4548230"/>
            <a:ext cx="425666" cy="587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6" name="Conector recto de flecha 35">
            <a:extLst>
              <a:ext uri="{FF2B5EF4-FFF2-40B4-BE49-F238E27FC236}">
                <a16:creationId xmlns:a16="http://schemas.microsoft.com/office/drawing/2014/main" id="{3EABFAF2-F3E6-4CC7-B5A7-C921A673E2FC}"/>
              </a:ext>
            </a:extLst>
          </p:cNvPr>
          <p:cNvCxnSpPr>
            <a:endCxn id="2064" idx="1"/>
          </p:cNvCxnSpPr>
          <p:nvPr/>
        </p:nvCxnSpPr>
        <p:spPr>
          <a:xfrm>
            <a:off x="10241872" y="3827429"/>
            <a:ext cx="251382" cy="89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8" name="Conector recto de flecha 37">
            <a:extLst>
              <a:ext uri="{FF2B5EF4-FFF2-40B4-BE49-F238E27FC236}">
                <a16:creationId xmlns:a16="http://schemas.microsoft.com/office/drawing/2014/main" id="{0EA8BCD6-CCC6-415E-A921-C9F45A952B23}"/>
              </a:ext>
            </a:extLst>
          </p:cNvPr>
          <p:cNvCxnSpPr/>
          <p:nvPr/>
        </p:nvCxnSpPr>
        <p:spPr>
          <a:xfrm flipV="1">
            <a:off x="9388243" y="2751703"/>
            <a:ext cx="355324" cy="2109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5752931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94077DE-F974-4E8F-814E-A674D32C8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78" y="305837"/>
            <a:ext cx="3057939" cy="827571"/>
          </a:xfrm>
        </p:spPr>
        <p:txBody>
          <a:bodyPr>
            <a:normAutofit/>
          </a:bodyPr>
          <a:lstStyle/>
          <a:p>
            <a:r>
              <a:rPr lang="es-E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oría del desarrollo</a:t>
            </a:r>
            <a:endParaRPr lang="es-EC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B569632-8EC9-454A-817F-B2A3FB10B1C1}"/>
              </a:ext>
            </a:extLst>
          </p:cNvPr>
          <p:cNvSpPr txBox="1"/>
          <p:nvPr/>
        </p:nvSpPr>
        <p:spPr>
          <a:xfrm>
            <a:off x="1243495" y="1219201"/>
            <a:ext cx="2849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Desarrollo económico local </a:t>
            </a:r>
            <a:endParaRPr lang="es-EC" dirty="0"/>
          </a:p>
        </p:txBody>
      </p:sp>
      <p:pic>
        <p:nvPicPr>
          <p:cNvPr id="3076" name="Picture 4" descr="Desarrollo Económico Local - YouTube">
            <a:extLst>
              <a:ext uri="{FF2B5EF4-FFF2-40B4-BE49-F238E27FC236}">
                <a16:creationId xmlns:a16="http://schemas.microsoft.com/office/drawing/2014/main" id="{FF3DAF8D-03AE-47B3-8DD1-604C99E65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495" y="1674326"/>
            <a:ext cx="2849217" cy="1602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0358529F-95B5-4967-820C-E5B3DAF3F2F6}"/>
              </a:ext>
            </a:extLst>
          </p:cNvPr>
          <p:cNvGraphicFramePr/>
          <p:nvPr/>
        </p:nvGraphicFramePr>
        <p:xfrm>
          <a:off x="172279" y="2681837"/>
          <a:ext cx="5336209" cy="41761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957F582A-39A0-4C38-A682-7187506A8B02}"/>
              </a:ext>
            </a:extLst>
          </p:cNvPr>
          <p:cNvSpPr txBox="1"/>
          <p:nvPr/>
        </p:nvSpPr>
        <p:spPr>
          <a:xfrm>
            <a:off x="6674676" y="710374"/>
            <a:ext cx="3564835" cy="369332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dirty="0"/>
              <a:t>Alburquerque</a:t>
            </a:r>
            <a:endParaRPr lang="es-EC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B3E132E-535B-414B-8F2E-EE089DD53A54}"/>
              </a:ext>
            </a:extLst>
          </p:cNvPr>
          <p:cNvSpPr txBox="1"/>
          <p:nvPr/>
        </p:nvSpPr>
        <p:spPr>
          <a:xfrm>
            <a:off x="5932556" y="1219201"/>
            <a:ext cx="60827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Proceso de transformación de la economía y de la sociedad</a:t>
            </a:r>
            <a:endParaRPr lang="es-EC" dirty="0"/>
          </a:p>
        </p:txBody>
      </p:sp>
      <p:graphicFrame>
        <p:nvGraphicFramePr>
          <p:cNvPr id="9" name="Diagrama 8">
            <a:extLst>
              <a:ext uri="{FF2B5EF4-FFF2-40B4-BE49-F238E27FC236}">
                <a16:creationId xmlns:a16="http://schemas.microsoft.com/office/drawing/2014/main" id="{966F79A5-B8BC-49AC-B065-C3F0C1C418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6700965"/>
              </p:ext>
            </p:extLst>
          </p:nvPr>
        </p:nvGraphicFramePr>
        <p:xfrm>
          <a:off x="5284303" y="1728028"/>
          <a:ext cx="7379252" cy="47321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3078" name="Picture 6" descr="Directorio | Gobierno Municipal de Nogales">
            <a:extLst>
              <a:ext uri="{FF2B5EF4-FFF2-40B4-BE49-F238E27FC236}">
                <a16:creationId xmlns:a16="http://schemas.microsoft.com/office/drawing/2014/main" id="{2596B2C9-8BA4-42D8-ADCD-11A119459C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8" t="15537" r="16621" b="22674"/>
          <a:stretch/>
        </p:blipFill>
        <p:spPr bwMode="auto">
          <a:xfrm>
            <a:off x="7644581" y="1588533"/>
            <a:ext cx="812512" cy="77188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124433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798F6717-70E2-4E99-B46A-6C47882A45BE}"/>
              </a:ext>
            </a:extLst>
          </p:cNvPr>
          <p:cNvSpPr txBox="1"/>
          <p:nvPr/>
        </p:nvSpPr>
        <p:spPr>
          <a:xfrm>
            <a:off x="4492487" y="265043"/>
            <a:ext cx="3578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/>
              <a:t>Marco referencial </a:t>
            </a:r>
            <a:endParaRPr lang="es-EC" sz="2000" b="1" dirty="0"/>
          </a:p>
        </p:txBody>
      </p:sp>
      <p:graphicFrame>
        <p:nvGraphicFramePr>
          <p:cNvPr id="3" name="Diagrama 2">
            <a:extLst>
              <a:ext uri="{FF2B5EF4-FFF2-40B4-BE49-F238E27FC236}">
                <a16:creationId xmlns:a16="http://schemas.microsoft.com/office/drawing/2014/main" id="{CDAF9D45-F252-4004-88F9-DC664AB9B0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8365188"/>
              </p:ext>
            </p:extLst>
          </p:nvPr>
        </p:nvGraphicFramePr>
        <p:xfrm>
          <a:off x="980661" y="719666"/>
          <a:ext cx="10164417" cy="5548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14608022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ipse 11">
            <a:extLst>
              <a:ext uri="{FF2B5EF4-FFF2-40B4-BE49-F238E27FC236}">
                <a16:creationId xmlns:a16="http://schemas.microsoft.com/office/drawing/2014/main" id="{5239474A-FF70-4287-9D63-4397C793475C}"/>
              </a:ext>
            </a:extLst>
          </p:cNvPr>
          <p:cNvSpPr/>
          <p:nvPr/>
        </p:nvSpPr>
        <p:spPr>
          <a:xfrm>
            <a:off x="2798616" y="2479963"/>
            <a:ext cx="1794163" cy="748146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F3B8AAFC-EE4B-4F0E-BD0C-10DBAD8A682C}"/>
              </a:ext>
            </a:extLst>
          </p:cNvPr>
          <p:cNvSpPr/>
          <p:nvPr/>
        </p:nvSpPr>
        <p:spPr>
          <a:xfrm>
            <a:off x="9670473" y="1028607"/>
            <a:ext cx="1662545" cy="519545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CA035635-2463-4685-A1AD-0E41A2A599D7}"/>
              </a:ext>
            </a:extLst>
          </p:cNvPr>
          <p:cNvSpPr/>
          <p:nvPr/>
        </p:nvSpPr>
        <p:spPr>
          <a:xfrm>
            <a:off x="4939149" y="949086"/>
            <a:ext cx="1814946" cy="748145"/>
          </a:xfrm>
          <a:prstGeom prst="ellipse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 dirty="0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5A1473A2-DBDD-4555-ACAB-2D3F2B4B2526}"/>
              </a:ext>
            </a:extLst>
          </p:cNvPr>
          <p:cNvSpPr/>
          <p:nvPr/>
        </p:nvSpPr>
        <p:spPr>
          <a:xfrm>
            <a:off x="678873" y="896266"/>
            <a:ext cx="1482436" cy="57705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7D64D39-523A-4158-AC4C-DCED2EDA4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2" y="198872"/>
            <a:ext cx="3013363" cy="590838"/>
          </a:xfrm>
        </p:spPr>
        <p:txBody>
          <a:bodyPr>
            <a:normAutofit/>
          </a:bodyPr>
          <a:lstStyle/>
          <a:p>
            <a:r>
              <a:rPr lang="es-ES" sz="2000" b="1" dirty="0"/>
              <a:t>Marco conceptual </a:t>
            </a:r>
            <a:endParaRPr lang="es-EC" sz="2000" b="1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BDE4506-EF30-4A31-B116-FB0CC2FB392A}"/>
              </a:ext>
            </a:extLst>
          </p:cNvPr>
          <p:cNvSpPr txBox="1"/>
          <p:nvPr/>
        </p:nvSpPr>
        <p:spPr>
          <a:xfrm>
            <a:off x="571975" y="3382620"/>
            <a:ext cx="30133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>
                <a:latin typeface="+mj-lt"/>
              </a:rPr>
              <a:t>Normativa</a:t>
            </a:r>
            <a:endParaRPr lang="es-EC" sz="2000" b="1" dirty="0">
              <a:latin typeface="+mj-lt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ECD85D8-66A0-4B49-AD4A-A1072A1119FF}"/>
              </a:ext>
            </a:extLst>
          </p:cNvPr>
          <p:cNvSpPr txBox="1"/>
          <p:nvPr/>
        </p:nvSpPr>
        <p:spPr>
          <a:xfrm>
            <a:off x="678874" y="971095"/>
            <a:ext cx="2022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Turismo rural </a:t>
            </a:r>
            <a:endParaRPr lang="es-EC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88067341-E3DF-4F1E-BBB3-AEAAA7BF50FA}"/>
              </a:ext>
            </a:extLst>
          </p:cNvPr>
          <p:cNvSpPr txBox="1"/>
          <p:nvPr/>
        </p:nvSpPr>
        <p:spPr>
          <a:xfrm>
            <a:off x="2954480" y="2616845"/>
            <a:ext cx="1482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/>
              <a:t>Desarrollo local</a:t>
            </a:r>
            <a:endParaRPr lang="es-EC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441B42C-AF62-468D-A7BE-2F7BFA412BFA}"/>
              </a:ext>
            </a:extLst>
          </p:cNvPr>
          <p:cNvSpPr txBox="1"/>
          <p:nvPr/>
        </p:nvSpPr>
        <p:spPr>
          <a:xfrm>
            <a:off x="5133109" y="999994"/>
            <a:ext cx="2022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Desarrollo económico </a:t>
            </a:r>
            <a:endParaRPr lang="es-EC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421B1E2-588C-4956-A5E9-926C14EEB447}"/>
              </a:ext>
            </a:extLst>
          </p:cNvPr>
          <p:cNvSpPr txBox="1"/>
          <p:nvPr/>
        </p:nvSpPr>
        <p:spPr>
          <a:xfrm>
            <a:off x="7550728" y="2669369"/>
            <a:ext cx="2119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Calidad de vida</a:t>
            </a:r>
            <a:endParaRPr lang="es-EC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E973940-5D8E-473F-9336-BF345AD88D8A}"/>
              </a:ext>
            </a:extLst>
          </p:cNvPr>
          <p:cNvSpPr txBox="1"/>
          <p:nvPr/>
        </p:nvSpPr>
        <p:spPr>
          <a:xfrm>
            <a:off x="9850581" y="1103991"/>
            <a:ext cx="1662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Agroturismo </a:t>
            </a:r>
            <a:endParaRPr lang="es-EC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67654F23-6CE1-492B-8870-0E9DA1C18EB3}"/>
              </a:ext>
            </a:extLst>
          </p:cNvPr>
          <p:cNvSpPr/>
          <p:nvPr/>
        </p:nvSpPr>
        <p:spPr>
          <a:xfrm>
            <a:off x="7335987" y="2479963"/>
            <a:ext cx="1814946" cy="748145"/>
          </a:xfrm>
          <a:prstGeom prst="ellipse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pic>
        <p:nvPicPr>
          <p:cNvPr id="4098" name="Picture 2" descr="Zonas rurales vector, gráfico vectorial, imágenes de Zonas rurales  vectoriales de stock | Depositphotos®">
            <a:extLst>
              <a:ext uri="{FF2B5EF4-FFF2-40B4-BE49-F238E27FC236}">
                <a16:creationId xmlns:a16="http://schemas.microsoft.com/office/drawing/2014/main" id="{60B6FDD0-555D-4CF3-9EB2-261F5970E1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39" t="13470" r="12909" b="12046"/>
          <a:stretch/>
        </p:blipFill>
        <p:spPr bwMode="auto">
          <a:xfrm>
            <a:off x="705632" y="1548152"/>
            <a:ext cx="1525895" cy="1512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Desarrollo, desarrollo local y procesos educomunicativos – Proyecto  Escaramujo">
            <a:extLst>
              <a:ext uri="{FF2B5EF4-FFF2-40B4-BE49-F238E27FC236}">
                <a16:creationId xmlns:a16="http://schemas.microsoft.com/office/drawing/2014/main" id="{8AE3DF2C-5920-4BBC-BD09-2993A2B2A5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87" t="3499" r="13759" b="11872"/>
          <a:stretch/>
        </p:blipFill>
        <p:spPr bwMode="auto">
          <a:xfrm>
            <a:off x="2550558" y="1087411"/>
            <a:ext cx="2069560" cy="13157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Caracteristicas del desarrollo economico">
            <a:extLst>
              <a:ext uri="{FF2B5EF4-FFF2-40B4-BE49-F238E27FC236}">
                <a16:creationId xmlns:a16="http://schemas.microsoft.com/office/drawing/2014/main" id="{DFF60FDA-B900-4577-AAF3-CD174AD67A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87" t="8950" r="22587" b="5931"/>
          <a:stretch/>
        </p:blipFill>
        <p:spPr bwMode="auto">
          <a:xfrm>
            <a:off x="5159868" y="1807410"/>
            <a:ext cx="1586149" cy="1420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Calidad de vida: Qué implica el bienestar físico y material">
            <a:extLst>
              <a:ext uri="{FF2B5EF4-FFF2-40B4-BE49-F238E27FC236}">
                <a16:creationId xmlns:a16="http://schemas.microsoft.com/office/drawing/2014/main" id="{2608349F-44AF-49EA-B8EB-EAFE2BCA32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36" t="16727" r="18909" b="16000"/>
          <a:stretch/>
        </p:blipFill>
        <p:spPr bwMode="auto">
          <a:xfrm>
            <a:off x="6948055" y="1136256"/>
            <a:ext cx="2443026" cy="131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Agroturismo Vectores Libres de Derechos - iStock">
            <a:extLst>
              <a:ext uri="{FF2B5EF4-FFF2-40B4-BE49-F238E27FC236}">
                <a16:creationId xmlns:a16="http://schemas.microsoft.com/office/drawing/2014/main" id="{FFCF91EB-40F2-4E50-B6C4-B64AB83A6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1442" y="1672076"/>
            <a:ext cx="1662545" cy="1420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A7E1A6FC-3973-4E49-877E-C349D8C04FE7}"/>
              </a:ext>
            </a:extLst>
          </p:cNvPr>
          <p:cNvGraphicFramePr/>
          <p:nvPr/>
        </p:nvGraphicFramePr>
        <p:xfrm>
          <a:off x="969819" y="3765227"/>
          <a:ext cx="9628908" cy="33995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99562929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E60323EF-72ED-4250-AF4B-C927BAF7D258}"/>
              </a:ext>
            </a:extLst>
          </p:cNvPr>
          <p:cNvSpPr txBox="1"/>
          <p:nvPr/>
        </p:nvSpPr>
        <p:spPr>
          <a:xfrm>
            <a:off x="2787511" y="916471"/>
            <a:ext cx="56156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 dirty="0">
                <a:latin typeface="+mj-lt"/>
              </a:rPr>
              <a:t>Capítulo </a:t>
            </a:r>
            <a:r>
              <a:rPr lang="es-ES" sz="7200" b="1" dirty="0" err="1">
                <a:latin typeface="+mj-lt"/>
              </a:rPr>
              <a:t>Il</a:t>
            </a:r>
            <a:endParaRPr lang="es-EC" sz="7200" b="1" dirty="0">
              <a:latin typeface="+mj-lt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F08CD66-3BF7-428A-A769-11577D13B7F8}"/>
              </a:ext>
            </a:extLst>
          </p:cNvPr>
          <p:cNvSpPr txBox="1"/>
          <p:nvPr/>
        </p:nvSpPr>
        <p:spPr>
          <a:xfrm>
            <a:off x="2867852" y="3166855"/>
            <a:ext cx="64562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600" dirty="0">
                <a:latin typeface="+mj-lt"/>
              </a:rPr>
              <a:t>DIAGNÓSTICO</a:t>
            </a:r>
            <a:endParaRPr lang="es-EC" sz="6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30427074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DESIGN_ID_LEVEL UP! POWERPOINT" val="nCGhHneJ"/>
  <p:tag name="ARTICULATE_SLIDE_THUMBNAIL_REFRESH" val="1"/>
  <p:tag name="ARTICULATE_SLIDE_COUNT" val="2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bXuQ4Qw2.xZdkIaWN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EVLb49SI6SfeFtBoGS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WafMjsWiZAvtFQNKy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ZcveFcTuSouPSNhUDFiQ"/>
</p:tagLst>
</file>

<file path=ppt/theme/theme1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09A9FD79-4AD2-4296-A2DD-9F92A25C9D11}" vid="{BFDEAB75-776D-4FD4-B1CD-15298D2A28B5}"/>
    </a:ext>
  </a:extLst>
</a:theme>
</file>

<file path=ppt/theme/theme2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ppt/theme/theme3.xml><?xml version="1.0" encoding="utf-8"?>
<a:theme xmlns:a="http://schemas.openxmlformats.org/drawingml/2006/main" name="Level up! PowerPoint">
  <a:themeElements>
    <a:clrScheme name="Level up! PowerPoint">
      <a:dk1>
        <a:srgbClr val="353B48"/>
      </a:dk1>
      <a:lt1>
        <a:srgbClr val="F5F6FA"/>
      </a:lt1>
      <a:dk2>
        <a:srgbClr val="1A1D24"/>
      </a:dk2>
      <a:lt2>
        <a:srgbClr val="FFFFFF"/>
      </a:lt2>
      <a:accent1>
        <a:srgbClr val="00A8FF"/>
      </a:accent1>
      <a:accent2>
        <a:srgbClr val="FBC531"/>
      </a:accent2>
      <a:accent3>
        <a:srgbClr val="4CD137"/>
      </a:accent3>
      <a:accent4>
        <a:srgbClr val="E84118"/>
      </a:accent4>
      <a:accent5>
        <a:srgbClr val="7F8FA1"/>
      </a:accent5>
      <a:accent6>
        <a:srgbClr val="273C75"/>
      </a:accent6>
      <a:hlink>
        <a:srgbClr val="5B5B5B"/>
      </a:hlink>
      <a:folHlink>
        <a:srgbClr val="BFBFBF"/>
      </a:folHlink>
    </a:clrScheme>
    <a:fontScheme name="Level up! PowerPoint">
      <a:majorFont>
        <a:latin typeface="Segoe UI Black"/>
        <a:ea typeface=""/>
        <a:cs typeface=""/>
      </a:majorFont>
      <a:minorFont>
        <a:latin typeface="Segoe UI Semibold"/>
        <a:ea typeface=""/>
        <a:cs typeface=""/>
      </a:minorFont>
    </a:fontScheme>
    <a:fmtScheme name="Level up! PowerPoint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numCol="1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 numCol="1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numCol="1" rtlCol="0">
        <a:spAutoFit/>
      </a:bodyPr>
      <a:lstStyle>
        <a:defPPr algn="l">
          <a:defRPr sz="1400" kern="0" dirty="0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YouTube Template.potx" id="{78599F88-281C-49F3-85D0-E1461EE50E6A}" vid="{6CF95794-CF56-4202-9084-2222FB314B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YouTube Template</Template>
  <TotalTime>6277</TotalTime>
  <Words>2150</Words>
  <Application>Microsoft Office PowerPoint</Application>
  <PresentationFormat>Panorámica</PresentationFormat>
  <Paragraphs>392</Paragraphs>
  <Slides>31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40" baseType="lpstr">
      <vt:lpstr>Arial</vt:lpstr>
      <vt:lpstr>Calibri</vt:lpstr>
      <vt:lpstr>Cambria Math</vt:lpstr>
      <vt:lpstr>Segoe UI Black</vt:lpstr>
      <vt:lpstr>Segoe UI Semibold</vt:lpstr>
      <vt:lpstr>Symbol</vt:lpstr>
      <vt:lpstr>Times New Roman</vt:lpstr>
      <vt:lpstr>Level up! PowerPoint</vt:lpstr>
      <vt:lpstr>think-cell Slide</vt:lpstr>
      <vt:lpstr>Presentación de PowerPoint</vt:lpstr>
      <vt:lpstr>Importancia del proyecto </vt:lpstr>
      <vt:lpstr>Objetivos </vt:lpstr>
      <vt:lpstr>Presentación de PowerPoint</vt:lpstr>
      <vt:lpstr>Presentación de PowerPoint</vt:lpstr>
      <vt:lpstr>Teoría del desarrollo</vt:lpstr>
      <vt:lpstr>Presentación de PowerPoint</vt:lpstr>
      <vt:lpstr>Marco conceptual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conómico</vt:lpstr>
      <vt:lpstr>RESULTAD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ch, Martyna</dc:creator>
  <cp:keywords/>
  <cp:lastModifiedBy>Anthony Dario</cp:lastModifiedBy>
  <cp:revision>85</cp:revision>
  <dcterms:created xsi:type="dcterms:W3CDTF">2018-05-09T07:34:30Z</dcterms:created>
  <dcterms:modified xsi:type="dcterms:W3CDTF">2021-08-23T18:0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S</vt:lpwstr>
  </property>
  <property fmtid="{D5CDD505-2E9C-101B-9397-08002B2CF9AE}" pid="3" name="ArticulateGUID">
    <vt:lpwstr>BF279434-19CC-4F2C-940F-B1DCEF3AD2ED</vt:lpwstr>
  </property>
  <property fmtid="{D5CDD505-2E9C-101B-9397-08002B2CF9AE}" pid="4" name="ArticulatePath">
    <vt:lpwstr>Create carousel effect with Morph - Template</vt:lpwstr>
  </property>
</Properties>
</file>